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1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Override2.xml" ContentType="application/vnd.openxmlformats-officedocument.themeOverr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Override3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Override4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Override5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Override6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7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3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776" r:id="rId2"/>
    <p:sldMasterId id="2147483790" r:id="rId3"/>
    <p:sldMasterId id="2147483802" r:id="rId4"/>
  </p:sldMasterIdLst>
  <p:notesMasterIdLst>
    <p:notesMasterId r:id="rId20"/>
  </p:notesMasterIdLst>
  <p:sldIdLst>
    <p:sldId id="2147472298" r:id="rId5"/>
    <p:sldId id="1064" r:id="rId6"/>
    <p:sldId id="1065" r:id="rId7"/>
    <p:sldId id="1033" r:id="rId8"/>
    <p:sldId id="256" r:id="rId9"/>
    <p:sldId id="261" r:id="rId10"/>
    <p:sldId id="1053" r:id="rId11"/>
    <p:sldId id="1061" r:id="rId12"/>
    <p:sldId id="1062" r:id="rId13"/>
    <p:sldId id="1051" r:id="rId14"/>
    <p:sldId id="1049" r:id="rId15"/>
    <p:sldId id="1048" r:id="rId16"/>
    <p:sldId id="1059" r:id="rId17"/>
    <p:sldId id="1067" r:id="rId18"/>
    <p:sldId id="264" r:id="rId19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8693"/>
    <a:srgbClr val="7A6C61"/>
    <a:srgbClr val="5400FF"/>
    <a:srgbClr val="0000CC"/>
    <a:srgbClr val="79745C"/>
    <a:srgbClr val="6F5238"/>
    <a:srgbClr val="352403"/>
    <a:srgbClr val="EAEAEA"/>
    <a:srgbClr val="0F0801"/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7CC073-989A-4511-BEBD-FD7F4B5B2DC8}" v="40" dt="2026-03-25T04:04:00.5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1" autoAdjust="0"/>
    <p:restoredTop sz="94424" autoAdjust="0"/>
  </p:normalViewPr>
  <p:slideViewPr>
    <p:cSldViewPr snapToGrid="0">
      <p:cViewPr varScale="1">
        <p:scale>
          <a:sx n="78" d="100"/>
          <a:sy n="78" d="100"/>
        </p:scale>
        <p:origin x="162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on Hobdey-Sanchez" userId="3610b246-115d-4783-9e4b-a8b44f87e1bd" providerId="ADAL" clId="{973A4D2E-F9F7-4130-A052-8F0D04ACED11}"/>
    <pc:docChg chg="undo redo custSel addSld delSld modSld sldOrd delMainMaster">
      <pc:chgData name="Ramon Hobdey-Sanchez" userId="3610b246-115d-4783-9e4b-a8b44f87e1bd" providerId="ADAL" clId="{973A4D2E-F9F7-4130-A052-8F0D04ACED11}" dt="2026-03-25T04:06:38.950" v="1158" actId="207"/>
      <pc:docMkLst>
        <pc:docMk/>
      </pc:docMkLst>
      <pc:sldChg chg="modSp mod">
        <pc:chgData name="Ramon Hobdey-Sanchez" userId="3610b246-115d-4783-9e4b-a8b44f87e1bd" providerId="ADAL" clId="{973A4D2E-F9F7-4130-A052-8F0D04ACED11}" dt="2026-03-25T01:35:35.680" v="1031" actId="14100"/>
        <pc:sldMkLst>
          <pc:docMk/>
          <pc:sldMk cId="3094491858" sldId="256"/>
        </pc:sldMkLst>
        <pc:spChg chg="mod">
          <ac:chgData name="Ramon Hobdey-Sanchez" userId="3610b246-115d-4783-9e4b-a8b44f87e1bd" providerId="ADAL" clId="{973A4D2E-F9F7-4130-A052-8F0D04ACED11}" dt="2026-03-24T15:41:53.967" v="568" actId="255"/>
          <ac:spMkLst>
            <pc:docMk/>
            <pc:sldMk cId="3094491858" sldId="256"/>
            <ac:spMk id="3" creationId="{C453D3DF-2717-9533-6BB5-893F308720AE}"/>
          </ac:spMkLst>
        </pc:spChg>
        <pc:picChg chg="mod">
          <ac:chgData name="Ramon Hobdey-Sanchez" userId="3610b246-115d-4783-9e4b-a8b44f87e1bd" providerId="ADAL" clId="{973A4D2E-F9F7-4130-A052-8F0D04ACED11}" dt="2026-03-25T01:35:35.680" v="1031" actId="14100"/>
          <ac:picMkLst>
            <pc:docMk/>
            <pc:sldMk cId="3094491858" sldId="256"/>
            <ac:picMk id="4" creationId="{AA91D047-C346-9FA2-1F07-2C7F797F24D9}"/>
          </ac:picMkLst>
        </pc:picChg>
      </pc:sldChg>
      <pc:sldChg chg="delSp modSp mod ord">
        <pc:chgData name="Ramon Hobdey-Sanchez" userId="3610b246-115d-4783-9e4b-a8b44f87e1bd" providerId="ADAL" clId="{973A4D2E-F9F7-4130-A052-8F0D04ACED11}" dt="2026-03-25T04:00:18.982" v="1148" actId="113"/>
        <pc:sldMkLst>
          <pc:docMk/>
          <pc:sldMk cId="0" sldId="261"/>
        </pc:sldMkLst>
        <pc:spChg chg="mod">
          <ac:chgData name="Ramon Hobdey-Sanchez" userId="3610b246-115d-4783-9e4b-a8b44f87e1bd" providerId="ADAL" clId="{973A4D2E-F9F7-4130-A052-8F0D04ACED11}" dt="2026-03-24T15:42:11.203" v="572" actId="255"/>
          <ac:spMkLst>
            <pc:docMk/>
            <pc:sldMk cId="0" sldId="261"/>
            <ac:spMk id="6" creationId="{31F28398-628A-28F5-A5C3-494E15131A43}"/>
          </ac:spMkLst>
        </pc:spChg>
        <pc:spChg chg="mod">
          <ac:chgData name="Ramon Hobdey-Sanchez" userId="3610b246-115d-4783-9e4b-a8b44f87e1bd" providerId="ADAL" clId="{973A4D2E-F9F7-4130-A052-8F0D04ACED11}" dt="2026-03-25T04:00:18.982" v="1148" actId="113"/>
          <ac:spMkLst>
            <pc:docMk/>
            <pc:sldMk cId="0" sldId="261"/>
            <ac:spMk id="19" creationId="{545A2206-796D-75F2-6025-55F327E4BFCE}"/>
          </ac:spMkLst>
        </pc:spChg>
        <pc:spChg chg="mod">
          <ac:chgData name="Ramon Hobdey-Sanchez" userId="3610b246-115d-4783-9e4b-a8b44f87e1bd" providerId="ADAL" clId="{973A4D2E-F9F7-4130-A052-8F0D04ACED11}" dt="2026-03-25T03:59:52.267" v="1144" actId="1076"/>
          <ac:spMkLst>
            <pc:docMk/>
            <pc:sldMk cId="0" sldId="261"/>
            <ac:spMk id="20" creationId="{E9E5A5B0-92BD-99A3-114D-9782C4B033E1}"/>
          </ac:spMkLst>
        </pc:spChg>
        <pc:spChg chg="del mod">
          <ac:chgData name="Ramon Hobdey-Sanchez" userId="3610b246-115d-4783-9e4b-a8b44f87e1bd" providerId="ADAL" clId="{973A4D2E-F9F7-4130-A052-8F0D04ACED11}" dt="2026-03-25T02:03:21.348" v="1102" actId="21"/>
          <ac:spMkLst>
            <pc:docMk/>
            <pc:sldMk cId="0" sldId="261"/>
            <ac:spMk id="21" creationId="{388E1D2C-8035-AD51-CE44-C285F0286FE1}"/>
          </ac:spMkLst>
        </pc:spChg>
        <pc:picChg chg="mod">
          <ac:chgData name="Ramon Hobdey-Sanchez" userId="3610b246-115d-4783-9e4b-a8b44f87e1bd" providerId="ADAL" clId="{973A4D2E-F9F7-4130-A052-8F0D04ACED11}" dt="2026-03-25T03:59:58.024" v="1145" actId="1076"/>
          <ac:picMkLst>
            <pc:docMk/>
            <pc:sldMk cId="0" sldId="261"/>
            <ac:picMk id="5" creationId="{80D22AB8-15C4-9323-2042-987023D5316E}"/>
          </ac:picMkLst>
        </pc:picChg>
        <pc:picChg chg="mod">
          <ac:chgData name="Ramon Hobdey-Sanchez" userId="3610b246-115d-4783-9e4b-a8b44f87e1bd" providerId="ADAL" clId="{973A4D2E-F9F7-4130-A052-8F0D04ACED11}" dt="2026-03-25T01:35:40.216" v="1032" actId="14100"/>
          <ac:picMkLst>
            <pc:docMk/>
            <pc:sldMk cId="0" sldId="261"/>
            <ac:picMk id="1092" creationId="{00000000-0000-0000-0000-000000000000}"/>
          </ac:picMkLst>
        </pc:picChg>
        <pc:cxnChg chg="mod">
          <ac:chgData name="Ramon Hobdey-Sanchez" userId="3610b246-115d-4783-9e4b-a8b44f87e1bd" providerId="ADAL" clId="{973A4D2E-F9F7-4130-A052-8F0D04ACED11}" dt="2026-03-25T04:00:14.127" v="1147" actId="1076"/>
          <ac:cxnSpMkLst>
            <pc:docMk/>
            <pc:sldMk cId="0" sldId="261"/>
            <ac:cxnSpMk id="3" creationId="{90230314-78AF-212E-7752-FBEB4FFE7E94}"/>
          </ac:cxnSpMkLst>
        </pc:cxnChg>
        <pc:cxnChg chg="mod">
          <ac:chgData name="Ramon Hobdey-Sanchez" userId="3610b246-115d-4783-9e4b-a8b44f87e1bd" providerId="ADAL" clId="{973A4D2E-F9F7-4130-A052-8F0D04ACED11}" dt="2026-03-25T04:00:03.121" v="1146" actId="1076"/>
          <ac:cxnSpMkLst>
            <pc:docMk/>
            <pc:sldMk cId="0" sldId="261"/>
            <ac:cxnSpMk id="9" creationId="{0B93548D-EF97-B0F5-1C17-9DCDDEE535A3}"/>
          </ac:cxnSpMkLst>
        </pc:cxnChg>
      </pc:sldChg>
      <pc:sldChg chg="modSp add del mod">
        <pc:chgData name="Ramon Hobdey-Sanchez" userId="3610b246-115d-4783-9e4b-a8b44f87e1bd" providerId="ADAL" clId="{973A4D2E-F9F7-4130-A052-8F0D04ACED11}" dt="2026-03-25T04:06:38.950" v="1158" actId="207"/>
        <pc:sldMkLst>
          <pc:docMk/>
          <pc:sldMk cId="0" sldId="264"/>
        </pc:sldMkLst>
        <pc:spChg chg="mod">
          <ac:chgData name="Ramon Hobdey-Sanchez" userId="3610b246-115d-4783-9e4b-a8b44f87e1bd" providerId="ADAL" clId="{973A4D2E-F9F7-4130-A052-8F0D04ACED11}" dt="2026-03-25T00:48:41.455" v="996" actId="14100"/>
          <ac:spMkLst>
            <pc:docMk/>
            <pc:sldMk cId="0" sldId="264"/>
            <ac:spMk id="1121" creationId="{00000000-0000-0000-0000-000000000000}"/>
          </ac:spMkLst>
        </pc:spChg>
        <pc:spChg chg="mod">
          <ac:chgData name="Ramon Hobdey-Sanchez" userId="3610b246-115d-4783-9e4b-a8b44f87e1bd" providerId="ADAL" clId="{973A4D2E-F9F7-4130-A052-8F0D04ACED11}" dt="2026-03-25T04:06:38.950" v="1158" actId="207"/>
          <ac:spMkLst>
            <pc:docMk/>
            <pc:sldMk cId="0" sldId="264"/>
            <ac:spMk id="1123" creationId="{00000000-0000-0000-0000-000000000000}"/>
          </ac:spMkLst>
        </pc:spChg>
        <pc:picChg chg="mod">
          <ac:chgData name="Ramon Hobdey-Sanchez" userId="3610b246-115d-4783-9e4b-a8b44f87e1bd" providerId="ADAL" clId="{973A4D2E-F9F7-4130-A052-8F0D04ACED11}" dt="2026-03-25T00:48:48.631" v="997" actId="1076"/>
          <ac:picMkLst>
            <pc:docMk/>
            <pc:sldMk cId="0" sldId="264"/>
            <ac:picMk id="1122" creationId="{00000000-0000-0000-0000-000000000000}"/>
          </ac:picMkLst>
        </pc:picChg>
        <pc:picChg chg="mod">
          <ac:chgData name="Ramon Hobdey-Sanchez" userId="3610b246-115d-4783-9e4b-a8b44f87e1bd" providerId="ADAL" clId="{973A4D2E-F9F7-4130-A052-8F0D04ACED11}" dt="2026-03-25T01:36:24.044" v="1039" actId="14100"/>
          <ac:picMkLst>
            <pc:docMk/>
            <pc:sldMk cId="0" sldId="264"/>
            <ac:picMk id="1132" creationId="{00000000-0000-0000-0000-000000000000}"/>
          </ac:picMkLst>
        </pc:picChg>
      </pc:sldChg>
      <pc:sldChg chg="modSp add del mod">
        <pc:chgData name="Ramon Hobdey-Sanchez" userId="3610b246-115d-4783-9e4b-a8b44f87e1bd" providerId="ADAL" clId="{973A4D2E-F9F7-4130-A052-8F0D04ACED11}" dt="2026-03-25T00:44:06.502" v="942" actId="2696"/>
        <pc:sldMkLst>
          <pc:docMk/>
          <pc:sldMk cId="2798184086" sldId="288"/>
        </pc:sldMkLst>
        <pc:spChg chg="mod">
          <ac:chgData name="Ramon Hobdey-Sanchez" userId="3610b246-115d-4783-9e4b-a8b44f87e1bd" providerId="ADAL" clId="{973A4D2E-F9F7-4130-A052-8F0D04ACED11}" dt="2026-03-24T12:33:55.423" v="53" actId="20577"/>
          <ac:spMkLst>
            <pc:docMk/>
            <pc:sldMk cId="2798184086" sldId="288"/>
            <ac:spMk id="7" creationId="{7608C70D-2F7D-C6A7-50AB-E2EA01749D94}"/>
          </ac:spMkLst>
        </pc:spChg>
      </pc:sldChg>
      <pc:sldChg chg="addSp delSp add del setBg delDesignElem">
        <pc:chgData name="Ramon Hobdey-Sanchez" userId="3610b246-115d-4783-9e4b-a8b44f87e1bd" providerId="ADAL" clId="{973A4D2E-F9F7-4130-A052-8F0D04ACED11}" dt="2026-03-24T13:37:05.017" v="82" actId="2696"/>
        <pc:sldMkLst>
          <pc:docMk/>
          <pc:sldMk cId="350944019" sldId="434"/>
        </pc:sldMkLst>
        <pc:spChg chg="add del">
          <ac:chgData name="Ramon Hobdey-Sanchez" userId="3610b246-115d-4783-9e4b-a8b44f87e1bd" providerId="ADAL" clId="{973A4D2E-F9F7-4130-A052-8F0D04ACED11}" dt="2026-03-24T13:36:59.463" v="81"/>
          <ac:spMkLst>
            <pc:docMk/>
            <pc:sldMk cId="350944019" sldId="434"/>
            <ac:spMk id="16" creationId="{04812C46-200A-4DEB-A05E-3ED6C68C2387}"/>
          </ac:spMkLst>
        </pc:spChg>
        <pc:spChg chg="add del">
          <ac:chgData name="Ramon Hobdey-Sanchez" userId="3610b246-115d-4783-9e4b-a8b44f87e1bd" providerId="ADAL" clId="{973A4D2E-F9F7-4130-A052-8F0D04ACED11}" dt="2026-03-24T13:36:59.463" v="81"/>
          <ac:spMkLst>
            <pc:docMk/>
            <pc:sldMk cId="350944019" sldId="434"/>
            <ac:spMk id="18" creationId="{D1EA859B-E555-4109-94F3-6700E046E008}"/>
          </ac:spMkLst>
        </pc:spChg>
      </pc:sldChg>
      <pc:sldChg chg="add del">
        <pc:chgData name="Ramon Hobdey-Sanchez" userId="3610b246-115d-4783-9e4b-a8b44f87e1bd" providerId="ADAL" clId="{973A4D2E-F9F7-4130-A052-8F0D04ACED11}" dt="2026-03-25T00:46:07.565" v="981" actId="2696"/>
        <pc:sldMkLst>
          <pc:docMk/>
          <pc:sldMk cId="4251316580" sldId="434"/>
        </pc:sldMkLst>
      </pc:sldChg>
      <pc:sldChg chg="modSp mod">
        <pc:chgData name="Ramon Hobdey-Sanchez" userId="3610b246-115d-4783-9e4b-a8b44f87e1bd" providerId="ADAL" clId="{973A4D2E-F9F7-4130-A052-8F0D04ACED11}" dt="2026-03-25T01:35:27.528" v="1030" actId="14100"/>
        <pc:sldMkLst>
          <pc:docMk/>
          <pc:sldMk cId="503871408" sldId="1033"/>
        </pc:sldMkLst>
        <pc:spChg chg="mod">
          <ac:chgData name="Ramon Hobdey-Sanchez" userId="3610b246-115d-4783-9e4b-a8b44f87e1bd" providerId="ADAL" clId="{973A4D2E-F9F7-4130-A052-8F0D04ACED11}" dt="2026-03-24T15:41:42.248" v="566" actId="122"/>
          <ac:spMkLst>
            <pc:docMk/>
            <pc:sldMk cId="503871408" sldId="1033"/>
            <ac:spMk id="6" creationId="{723DD333-C17F-0362-A307-15B8FDAD8AAE}"/>
          </ac:spMkLst>
        </pc:spChg>
        <pc:picChg chg="mod">
          <ac:chgData name="Ramon Hobdey-Sanchez" userId="3610b246-115d-4783-9e4b-a8b44f87e1bd" providerId="ADAL" clId="{973A4D2E-F9F7-4130-A052-8F0D04ACED11}" dt="2026-03-25T01:35:27.528" v="1030" actId="14100"/>
          <ac:picMkLst>
            <pc:docMk/>
            <pc:sldMk cId="503871408" sldId="1033"/>
            <ac:picMk id="1092" creationId="{0EAC59E8-F28B-794C-7E09-DE9430F33180}"/>
          </ac:picMkLst>
        </pc:picChg>
      </pc:sldChg>
      <pc:sldChg chg="del">
        <pc:chgData name="Ramon Hobdey-Sanchez" userId="3610b246-115d-4783-9e4b-a8b44f87e1bd" providerId="ADAL" clId="{973A4D2E-F9F7-4130-A052-8F0D04ACED11}" dt="2026-03-24T12:35:28.618" v="59" actId="2696"/>
        <pc:sldMkLst>
          <pc:docMk/>
          <pc:sldMk cId="1642688813" sldId="1044"/>
        </pc:sldMkLst>
      </pc:sldChg>
      <pc:sldChg chg="del">
        <pc:chgData name="Ramon Hobdey-Sanchez" userId="3610b246-115d-4783-9e4b-a8b44f87e1bd" providerId="ADAL" clId="{973A4D2E-F9F7-4130-A052-8F0D04ACED11}" dt="2026-03-24T15:24:33.103" v="548" actId="2696"/>
        <pc:sldMkLst>
          <pc:docMk/>
          <pc:sldMk cId="3478575456" sldId="1046"/>
        </pc:sldMkLst>
      </pc:sldChg>
      <pc:sldChg chg="del">
        <pc:chgData name="Ramon Hobdey-Sanchez" userId="3610b246-115d-4783-9e4b-a8b44f87e1bd" providerId="ADAL" clId="{973A4D2E-F9F7-4130-A052-8F0D04ACED11}" dt="2026-03-24T13:38:47.185" v="84" actId="2696"/>
        <pc:sldMkLst>
          <pc:docMk/>
          <pc:sldMk cId="1169861346" sldId="1047"/>
        </pc:sldMkLst>
      </pc:sldChg>
      <pc:sldChg chg="modSp mod">
        <pc:chgData name="Ramon Hobdey-Sanchez" userId="3610b246-115d-4783-9e4b-a8b44f87e1bd" providerId="ADAL" clId="{973A4D2E-F9F7-4130-A052-8F0D04ACED11}" dt="2026-03-25T04:04:00.534" v="1155" actId="1076"/>
        <pc:sldMkLst>
          <pc:docMk/>
          <pc:sldMk cId="665841630" sldId="1048"/>
        </pc:sldMkLst>
        <pc:spChg chg="mod">
          <ac:chgData name="Ramon Hobdey-Sanchez" userId="3610b246-115d-4783-9e4b-a8b44f87e1bd" providerId="ADAL" clId="{973A4D2E-F9F7-4130-A052-8F0D04ACED11}" dt="2026-03-24T15:43:43.533" v="596" actId="2711"/>
          <ac:spMkLst>
            <pc:docMk/>
            <pc:sldMk cId="665841630" sldId="1048"/>
            <ac:spMk id="3" creationId="{5B6533D6-C1FA-21DC-7EA4-BEB99ADAFD7B}"/>
          </ac:spMkLst>
        </pc:spChg>
        <pc:spChg chg="mod">
          <ac:chgData name="Ramon Hobdey-Sanchez" userId="3610b246-115d-4783-9e4b-a8b44f87e1bd" providerId="ADAL" clId="{973A4D2E-F9F7-4130-A052-8F0D04ACED11}" dt="2026-03-25T04:04:00.534" v="1155" actId="1076"/>
          <ac:spMkLst>
            <pc:docMk/>
            <pc:sldMk cId="665841630" sldId="1048"/>
            <ac:spMk id="7" creationId="{3D0CAD7D-027E-F1A2-C41C-F72538DD686E}"/>
          </ac:spMkLst>
        </pc:spChg>
        <pc:picChg chg="mod">
          <ac:chgData name="Ramon Hobdey-Sanchez" userId="3610b246-115d-4783-9e4b-a8b44f87e1bd" providerId="ADAL" clId="{973A4D2E-F9F7-4130-A052-8F0D04ACED11}" dt="2026-03-25T01:36:11.650" v="1037" actId="14100"/>
          <ac:picMkLst>
            <pc:docMk/>
            <pc:sldMk cId="665841630" sldId="1048"/>
            <ac:picMk id="1092" creationId="{419DE227-6EFB-1B5D-7921-71EDE677C7BE}"/>
          </ac:picMkLst>
        </pc:picChg>
      </pc:sldChg>
      <pc:sldChg chg="modSp mod ord">
        <pc:chgData name="Ramon Hobdey-Sanchez" userId="3610b246-115d-4783-9e4b-a8b44f87e1bd" providerId="ADAL" clId="{973A4D2E-F9F7-4130-A052-8F0D04ACED11}" dt="2026-03-25T04:03:32.141" v="1154"/>
        <pc:sldMkLst>
          <pc:docMk/>
          <pc:sldMk cId="2691820094" sldId="1049"/>
        </pc:sldMkLst>
        <pc:spChg chg="mod">
          <ac:chgData name="Ramon Hobdey-Sanchez" userId="3610b246-115d-4783-9e4b-a8b44f87e1bd" providerId="ADAL" clId="{973A4D2E-F9F7-4130-A052-8F0D04ACED11}" dt="2026-03-24T15:44:12.007" v="602" actId="2711"/>
          <ac:spMkLst>
            <pc:docMk/>
            <pc:sldMk cId="2691820094" sldId="1049"/>
            <ac:spMk id="3" creationId="{75D5FE78-8EA7-3F3A-9F73-868CC2082580}"/>
          </ac:spMkLst>
        </pc:spChg>
        <pc:spChg chg="mod">
          <ac:chgData name="Ramon Hobdey-Sanchez" userId="3610b246-115d-4783-9e4b-a8b44f87e1bd" providerId="ADAL" clId="{973A4D2E-F9F7-4130-A052-8F0D04ACED11}" dt="2026-03-25T04:03:32.141" v="1154"/>
          <ac:spMkLst>
            <pc:docMk/>
            <pc:sldMk cId="2691820094" sldId="1049"/>
            <ac:spMk id="5" creationId="{D3994008-1AC5-25CC-FC53-FB28161381A8}"/>
          </ac:spMkLst>
        </pc:spChg>
        <pc:picChg chg="mod">
          <ac:chgData name="Ramon Hobdey-Sanchez" userId="3610b246-115d-4783-9e4b-a8b44f87e1bd" providerId="ADAL" clId="{973A4D2E-F9F7-4130-A052-8F0D04ACED11}" dt="2026-03-25T01:36:06.710" v="1036" actId="14100"/>
          <ac:picMkLst>
            <pc:docMk/>
            <pc:sldMk cId="2691820094" sldId="1049"/>
            <ac:picMk id="1092" creationId="{539C20D7-7F2C-B620-6D85-8EE2B1804CCC}"/>
          </ac:picMkLst>
        </pc:picChg>
      </pc:sldChg>
      <pc:sldChg chg="modSp mod">
        <pc:chgData name="Ramon Hobdey-Sanchez" userId="3610b246-115d-4783-9e4b-a8b44f87e1bd" providerId="ADAL" clId="{973A4D2E-F9F7-4130-A052-8F0D04ACED11}" dt="2026-03-25T01:35:45.775" v="1033" actId="14100"/>
        <pc:sldMkLst>
          <pc:docMk/>
          <pc:sldMk cId="916729743" sldId="1051"/>
        </pc:sldMkLst>
        <pc:spChg chg="mod">
          <ac:chgData name="Ramon Hobdey-Sanchez" userId="3610b246-115d-4783-9e4b-a8b44f87e1bd" providerId="ADAL" clId="{973A4D2E-F9F7-4130-A052-8F0D04ACED11}" dt="2026-03-24T15:43:32.561" v="594" actId="255"/>
          <ac:spMkLst>
            <pc:docMk/>
            <pc:sldMk cId="916729743" sldId="1051"/>
            <ac:spMk id="6" creationId="{4BCBFD40-C556-C9B2-3FDC-145BAC0C99B5}"/>
          </ac:spMkLst>
        </pc:spChg>
        <pc:spChg chg="mod">
          <ac:chgData name="Ramon Hobdey-Sanchez" userId="3610b246-115d-4783-9e4b-a8b44f87e1bd" providerId="ADAL" clId="{973A4D2E-F9F7-4130-A052-8F0D04ACED11}" dt="2026-03-24T15:43:22.944" v="592" actId="2711"/>
          <ac:spMkLst>
            <pc:docMk/>
            <pc:sldMk cId="916729743" sldId="1051"/>
            <ac:spMk id="8" creationId="{3F7A065D-44F0-EDF1-8BAF-F80C34FBD083}"/>
          </ac:spMkLst>
        </pc:spChg>
        <pc:picChg chg="mod">
          <ac:chgData name="Ramon Hobdey-Sanchez" userId="3610b246-115d-4783-9e4b-a8b44f87e1bd" providerId="ADAL" clId="{973A4D2E-F9F7-4130-A052-8F0D04ACED11}" dt="2026-03-25T01:35:45.775" v="1033" actId="14100"/>
          <ac:picMkLst>
            <pc:docMk/>
            <pc:sldMk cId="916729743" sldId="1051"/>
            <ac:picMk id="1092" creationId="{8D78F1DF-FCA9-2EC9-F539-61B56D40DA4C}"/>
          </ac:picMkLst>
        </pc:picChg>
      </pc:sldChg>
      <pc:sldChg chg="modSp mod ord">
        <pc:chgData name="Ramon Hobdey-Sanchez" userId="3610b246-115d-4783-9e4b-a8b44f87e1bd" providerId="ADAL" clId="{973A4D2E-F9F7-4130-A052-8F0D04ACED11}" dt="2026-03-25T02:10:36.061" v="1119" actId="14100"/>
        <pc:sldMkLst>
          <pc:docMk/>
          <pc:sldMk cId="2411991828" sldId="1053"/>
        </pc:sldMkLst>
        <pc:spChg chg="mod">
          <ac:chgData name="Ramon Hobdey-Sanchez" userId="3610b246-115d-4783-9e4b-a8b44f87e1bd" providerId="ADAL" clId="{973A4D2E-F9F7-4130-A052-8F0D04ACED11}" dt="2026-03-25T02:10:17.690" v="1118" actId="6549"/>
          <ac:spMkLst>
            <pc:docMk/>
            <pc:sldMk cId="2411991828" sldId="1053"/>
            <ac:spMk id="3" creationId="{AF5D9CB9-C5F5-B60E-4375-DBA12EFEC5D6}"/>
          </ac:spMkLst>
        </pc:spChg>
        <pc:spChg chg="mod">
          <ac:chgData name="Ramon Hobdey-Sanchez" userId="3610b246-115d-4783-9e4b-a8b44f87e1bd" providerId="ADAL" clId="{973A4D2E-F9F7-4130-A052-8F0D04ACED11}" dt="2026-03-24T23:14:57.408" v="808" actId="20577"/>
          <ac:spMkLst>
            <pc:docMk/>
            <pc:sldMk cId="2411991828" sldId="1053"/>
            <ac:spMk id="8" creationId="{FB34CFD3-A81E-F099-7D41-A5CAF8A4CAD5}"/>
          </ac:spMkLst>
        </pc:spChg>
        <pc:picChg chg="mod">
          <ac:chgData name="Ramon Hobdey-Sanchez" userId="3610b246-115d-4783-9e4b-a8b44f87e1bd" providerId="ADAL" clId="{973A4D2E-F9F7-4130-A052-8F0D04ACED11}" dt="2026-03-25T02:10:36.061" v="1119" actId="14100"/>
          <ac:picMkLst>
            <pc:docMk/>
            <pc:sldMk cId="2411991828" sldId="1053"/>
            <ac:picMk id="1092" creationId="{20F386AE-D51F-1BC8-DB28-A0340BE54FDC}"/>
          </ac:picMkLst>
        </pc:picChg>
      </pc:sldChg>
      <pc:sldChg chg="addSp modSp del mod">
        <pc:chgData name="Ramon Hobdey-Sanchez" userId="3610b246-115d-4783-9e4b-a8b44f87e1bd" providerId="ADAL" clId="{973A4D2E-F9F7-4130-A052-8F0D04ACED11}" dt="2026-03-24T15:00:06.381" v="500" actId="2696"/>
        <pc:sldMkLst>
          <pc:docMk/>
          <pc:sldMk cId="4203734973" sldId="1054"/>
        </pc:sldMkLst>
        <pc:spChg chg="mod">
          <ac:chgData name="Ramon Hobdey-Sanchez" userId="3610b246-115d-4783-9e4b-a8b44f87e1bd" providerId="ADAL" clId="{973A4D2E-F9F7-4130-A052-8F0D04ACED11}" dt="2026-03-24T14:54:49.337" v="499" actId="20577"/>
          <ac:spMkLst>
            <pc:docMk/>
            <pc:sldMk cId="4203734973" sldId="1054"/>
            <ac:spMk id="5" creationId="{955B8130-55C7-42E8-BFB3-876864940CFA}"/>
          </ac:spMkLst>
        </pc:spChg>
        <pc:picChg chg="add">
          <ac:chgData name="Ramon Hobdey-Sanchez" userId="3610b246-115d-4783-9e4b-a8b44f87e1bd" providerId="ADAL" clId="{973A4D2E-F9F7-4130-A052-8F0D04ACED11}" dt="2026-03-24T13:32:39.177" v="66"/>
          <ac:picMkLst>
            <pc:docMk/>
            <pc:sldMk cId="4203734973" sldId="1054"/>
            <ac:picMk id="6" creationId="{0C740B07-7A17-8592-364B-137D502ED2DC}"/>
          </ac:picMkLst>
        </pc:picChg>
      </pc:sldChg>
      <pc:sldChg chg="modSp del mod">
        <pc:chgData name="Ramon Hobdey-Sanchez" userId="3610b246-115d-4783-9e4b-a8b44f87e1bd" providerId="ADAL" clId="{973A4D2E-F9F7-4130-A052-8F0D04ACED11}" dt="2026-03-24T14:53:37.283" v="495" actId="2696"/>
        <pc:sldMkLst>
          <pc:docMk/>
          <pc:sldMk cId="974228444" sldId="1055"/>
        </pc:sldMkLst>
        <pc:spChg chg="mod">
          <ac:chgData name="Ramon Hobdey-Sanchez" userId="3610b246-115d-4783-9e4b-a8b44f87e1bd" providerId="ADAL" clId="{973A4D2E-F9F7-4130-A052-8F0D04ACED11}" dt="2026-03-24T14:52:30.723" v="490" actId="20577"/>
          <ac:spMkLst>
            <pc:docMk/>
            <pc:sldMk cId="974228444" sldId="1055"/>
            <ac:spMk id="5" creationId="{7733FC8E-9DDB-94D3-0CF4-AC7E775089A1}"/>
          </ac:spMkLst>
        </pc:spChg>
      </pc:sldChg>
      <pc:sldChg chg="del">
        <pc:chgData name="Ramon Hobdey-Sanchez" userId="3610b246-115d-4783-9e4b-a8b44f87e1bd" providerId="ADAL" clId="{973A4D2E-F9F7-4130-A052-8F0D04ACED11}" dt="2026-03-24T13:38:01.938" v="83" actId="2696"/>
        <pc:sldMkLst>
          <pc:docMk/>
          <pc:sldMk cId="835396928" sldId="1057"/>
        </pc:sldMkLst>
      </pc:sldChg>
      <pc:sldChg chg="del">
        <pc:chgData name="Ramon Hobdey-Sanchez" userId="3610b246-115d-4783-9e4b-a8b44f87e1bd" providerId="ADAL" clId="{973A4D2E-F9F7-4130-A052-8F0D04ACED11}" dt="2026-03-24T12:35:15.414" v="58" actId="2696"/>
        <pc:sldMkLst>
          <pc:docMk/>
          <pc:sldMk cId="432950558" sldId="1058"/>
        </pc:sldMkLst>
      </pc:sldChg>
      <pc:sldChg chg="modSp mod">
        <pc:chgData name="Ramon Hobdey-Sanchez" userId="3610b246-115d-4783-9e4b-a8b44f87e1bd" providerId="ADAL" clId="{973A4D2E-F9F7-4130-A052-8F0D04ACED11}" dt="2026-03-25T01:36:17.673" v="1038" actId="14100"/>
        <pc:sldMkLst>
          <pc:docMk/>
          <pc:sldMk cId="3010664270" sldId="1059"/>
        </pc:sldMkLst>
        <pc:spChg chg="mod">
          <ac:chgData name="Ramon Hobdey-Sanchez" userId="3610b246-115d-4783-9e4b-a8b44f87e1bd" providerId="ADAL" clId="{973A4D2E-F9F7-4130-A052-8F0D04ACED11}" dt="2026-03-24T15:44:31.753" v="606" actId="2711"/>
          <ac:spMkLst>
            <pc:docMk/>
            <pc:sldMk cId="3010664270" sldId="1059"/>
            <ac:spMk id="3" creationId="{BB0BD065-EE45-3768-3E9A-B7D7B4D4AB16}"/>
          </ac:spMkLst>
        </pc:spChg>
        <pc:spChg chg="mod">
          <ac:chgData name="Ramon Hobdey-Sanchez" userId="3610b246-115d-4783-9e4b-a8b44f87e1bd" providerId="ADAL" clId="{973A4D2E-F9F7-4130-A052-8F0D04ACED11}" dt="2026-03-24T15:44:37.586" v="607" actId="2711"/>
          <ac:spMkLst>
            <pc:docMk/>
            <pc:sldMk cId="3010664270" sldId="1059"/>
            <ac:spMk id="7" creationId="{245AC5F7-F2A1-87BF-5D46-7886C2DE8DCE}"/>
          </ac:spMkLst>
        </pc:spChg>
        <pc:picChg chg="mod">
          <ac:chgData name="Ramon Hobdey-Sanchez" userId="3610b246-115d-4783-9e4b-a8b44f87e1bd" providerId="ADAL" clId="{973A4D2E-F9F7-4130-A052-8F0D04ACED11}" dt="2026-03-25T01:36:17.673" v="1038" actId="14100"/>
          <ac:picMkLst>
            <pc:docMk/>
            <pc:sldMk cId="3010664270" sldId="1059"/>
            <ac:picMk id="1092" creationId="{F6C96CCF-1D8A-4F8D-4115-C0AE004E1133}"/>
          </ac:picMkLst>
        </pc:picChg>
      </pc:sldChg>
      <pc:sldChg chg="modSp mod ord">
        <pc:chgData name="Ramon Hobdey-Sanchez" userId="3610b246-115d-4783-9e4b-a8b44f87e1bd" providerId="ADAL" clId="{973A4D2E-F9F7-4130-A052-8F0D04ACED11}" dt="2026-03-25T04:01:08.076" v="1151" actId="20577"/>
        <pc:sldMkLst>
          <pc:docMk/>
          <pc:sldMk cId="3497088616" sldId="1061"/>
        </pc:sldMkLst>
        <pc:spChg chg="mod">
          <ac:chgData name="Ramon Hobdey-Sanchez" userId="3610b246-115d-4783-9e4b-a8b44f87e1bd" providerId="ADAL" clId="{973A4D2E-F9F7-4130-A052-8F0D04ACED11}" dt="2026-03-25T04:01:08.076" v="1151" actId="20577"/>
          <ac:spMkLst>
            <pc:docMk/>
            <pc:sldMk cId="3497088616" sldId="1061"/>
            <ac:spMk id="3" creationId="{133F2B6F-9432-31A2-6387-F1610C79E552}"/>
          </ac:spMkLst>
        </pc:spChg>
        <pc:spChg chg="mod">
          <ac:chgData name="Ramon Hobdey-Sanchez" userId="3610b246-115d-4783-9e4b-a8b44f87e1bd" providerId="ADAL" clId="{973A4D2E-F9F7-4130-A052-8F0D04ACED11}" dt="2026-03-24T15:42:29.211" v="575" actId="2711"/>
          <ac:spMkLst>
            <pc:docMk/>
            <pc:sldMk cId="3497088616" sldId="1061"/>
            <ac:spMk id="8" creationId="{19573AC2-2601-46A8-5B81-C32BEE5E44B3}"/>
          </ac:spMkLst>
        </pc:spChg>
        <pc:picChg chg="mod">
          <ac:chgData name="Ramon Hobdey-Sanchez" userId="3610b246-115d-4783-9e4b-a8b44f87e1bd" providerId="ADAL" clId="{973A4D2E-F9F7-4130-A052-8F0D04ACED11}" dt="2026-03-25T01:36:00.074" v="1035" actId="14100"/>
          <ac:picMkLst>
            <pc:docMk/>
            <pc:sldMk cId="3497088616" sldId="1061"/>
            <ac:picMk id="1092" creationId="{1D5FE2D0-1DC5-06DD-B94E-0EAA2FB96105}"/>
          </ac:picMkLst>
        </pc:picChg>
      </pc:sldChg>
      <pc:sldChg chg="add del">
        <pc:chgData name="Ramon Hobdey-Sanchez" userId="3610b246-115d-4783-9e4b-a8b44f87e1bd" providerId="ADAL" clId="{973A4D2E-F9F7-4130-A052-8F0D04ACED11}" dt="2026-03-24T12:35:02.464" v="56" actId="2696"/>
        <pc:sldMkLst>
          <pc:docMk/>
          <pc:sldMk cId="0" sldId="1062"/>
        </pc:sldMkLst>
      </pc:sldChg>
      <pc:sldChg chg="modSp add mod ord">
        <pc:chgData name="Ramon Hobdey-Sanchez" userId="3610b246-115d-4783-9e4b-a8b44f87e1bd" providerId="ADAL" clId="{973A4D2E-F9F7-4130-A052-8F0D04ACED11}" dt="2026-03-25T01:35:53.410" v="1034" actId="14100"/>
        <pc:sldMkLst>
          <pc:docMk/>
          <pc:sldMk cId="2130758073" sldId="1062"/>
        </pc:sldMkLst>
        <pc:spChg chg="mod">
          <ac:chgData name="Ramon Hobdey-Sanchez" userId="3610b246-115d-4783-9e4b-a8b44f87e1bd" providerId="ADAL" clId="{973A4D2E-F9F7-4130-A052-8F0D04ACED11}" dt="2026-03-24T16:08:50.462" v="680" actId="20577"/>
          <ac:spMkLst>
            <pc:docMk/>
            <pc:sldMk cId="2130758073" sldId="1062"/>
            <ac:spMk id="3" creationId="{F7E83B4D-B7B2-C0D4-5351-7407D1FC9418}"/>
          </ac:spMkLst>
        </pc:spChg>
        <pc:spChg chg="mod">
          <ac:chgData name="Ramon Hobdey-Sanchez" userId="3610b246-115d-4783-9e4b-a8b44f87e1bd" providerId="ADAL" clId="{973A4D2E-F9F7-4130-A052-8F0D04ACED11}" dt="2026-03-25T00:40:20.562" v="931" actId="20577"/>
          <ac:spMkLst>
            <pc:docMk/>
            <pc:sldMk cId="2130758073" sldId="1062"/>
            <ac:spMk id="4" creationId="{C21809C8-15C6-965E-B167-E66C3A0D0E1C}"/>
          </ac:spMkLst>
        </pc:spChg>
        <pc:spChg chg="mod">
          <ac:chgData name="Ramon Hobdey-Sanchez" userId="3610b246-115d-4783-9e4b-a8b44f87e1bd" providerId="ADAL" clId="{973A4D2E-F9F7-4130-A052-8F0D04ACED11}" dt="2026-03-24T13:39:13.752" v="99" actId="20577"/>
          <ac:spMkLst>
            <pc:docMk/>
            <pc:sldMk cId="2130758073" sldId="1062"/>
            <ac:spMk id="5" creationId="{42F7781E-C3E7-3AA5-8871-1B47B32B790F}"/>
          </ac:spMkLst>
        </pc:spChg>
        <pc:picChg chg="mod">
          <ac:chgData name="Ramon Hobdey-Sanchez" userId="3610b246-115d-4783-9e4b-a8b44f87e1bd" providerId="ADAL" clId="{973A4D2E-F9F7-4130-A052-8F0D04ACED11}" dt="2026-03-25T01:35:53.410" v="1034" actId="14100"/>
          <ac:picMkLst>
            <pc:docMk/>
            <pc:sldMk cId="2130758073" sldId="1062"/>
            <ac:picMk id="1092" creationId="{AB8AD5D9-E078-492E-C524-AF9044B5D3D0}"/>
          </ac:picMkLst>
        </pc:picChg>
      </pc:sldChg>
      <pc:sldChg chg="addSp delSp modSp new del mod ord">
        <pc:chgData name="Ramon Hobdey-Sanchez" userId="3610b246-115d-4783-9e4b-a8b44f87e1bd" providerId="ADAL" clId="{973A4D2E-F9F7-4130-A052-8F0D04ACED11}" dt="2026-03-25T00:39:33.677" v="915" actId="2696"/>
        <pc:sldMkLst>
          <pc:docMk/>
          <pc:sldMk cId="2967295706" sldId="1063"/>
        </pc:sldMkLst>
        <pc:spChg chg="mod">
          <ac:chgData name="Ramon Hobdey-Sanchez" userId="3610b246-115d-4783-9e4b-a8b44f87e1bd" providerId="ADAL" clId="{973A4D2E-F9F7-4130-A052-8F0D04ACED11}" dt="2026-03-24T16:08:59.559" v="685" actId="14100"/>
          <ac:spMkLst>
            <pc:docMk/>
            <pc:sldMk cId="2967295706" sldId="1063"/>
            <ac:spMk id="2" creationId="{12D771FA-CBCA-D185-0BCD-3C8069311D47}"/>
          </ac:spMkLst>
        </pc:spChg>
        <pc:spChg chg="del">
          <ac:chgData name="Ramon Hobdey-Sanchez" userId="3610b246-115d-4783-9e4b-a8b44f87e1bd" providerId="ADAL" clId="{973A4D2E-F9F7-4130-A052-8F0D04ACED11}" dt="2026-03-24T13:41:56.360" v="116" actId="21"/>
          <ac:spMkLst>
            <pc:docMk/>
            <pc:sldMk cId="2967295706" sldId="1063"/>
            <ac:spMk id="3" creationId="{7912FA5B-9588-D065-9A0B-0BB65C585532}"/>
          </ac:spMkLst>
        </pc:spChg>
        <pc:spChg chg="add del mod">
          <ac:chgData name="Ramon Hobdey-Sanchez" userId="3610b246-115d-4783-9e4b-a8b44f87e1bd" providerId="ADAL" clId="{973A4D2E-F9F7-4130-A052-8F0D04ACED11}" dt="2026-03-25T00:38:18.367" v="894" actId="21"/>
          <ac:spMkLst>
            <pc:docMk/>
            <pc:sldMk cId="2967295706" sldId="1063"/>
            <ac:spMk id="4" creationId="{EA0EFFD6-3457-1A57-CE07-A8912A783BF9}"/>
          </ac:spMkLst>
        </pc:spChg>
        <pc:spChg chg="add mod">
          <ac:chgData name="Ramon Hobdey-Sanchez" userId="3610b246-115d-4783-9e4b-a8b44f87e1bd" providerId="ADAL" clId="{973A4D2E-F9F7-4130-A052-8F0D04ACED11}" dt="2026-03-24T13:42:04.752" v="119"/>
          <ac:spMkLst>
            <pc:docMk/>
            <pc:sldMk cId="2967295706" sldId="1063"/>
            <ac:spMk id="5" creationId="{7912FA5B-9588-D065-9A0B-0BB65C585532}"/>
          </ac:spMkLst>
        </pc:spChg>
        <pc:picChg chg="add">
          <ac:chgData name="Ramon Hobdey-Sanchez" userId="3610b246-115d-4783-9e4b-a8b44f87e1bd" providerId="ADAL" clId="{973A4D2E-F9F7-4130-A052-8F0D04ACED11}" dt="2026-03-24T13:42:02.446" v="118"/>
          <ac:picMkLst>
            <pc:docMk/>
            <pc:sldMk cId="2967295706" sldId="1063"/>
            <ac:picMk id="6" creationId="{24EC3F7D-B373-ACA3-08C7-7AD130B2E38B}"/>
          </ac:picMkLst>
        </pc:picChg>
        <pc:picChg chg="add mod">
          <ac:chgData name="Ramon Hobdey-Sanchez" userId="3610b246-115d-4783-9e4b-a8b44f87e1bd" providerId="ADAL" clId="{973A4D2E-F9F7-4130-A052-8F0D04ACED11}" dt="2026-03-24T15:25:08.920" v="551"/>
          <ac:picMkLst>
            <pc:docMk/>
            <pc:sldMk cId="2967295706" sldId="1063"/>
            <ac:picMk id="7" creationId="{BE3C4011-E100-6C48-6175-BFC6EDBA5657}"/>
          </ac:picMkLst>
        </pc:picChg>
      </pc:sldChg>
      <pc:sldChg chg="new del">
        <pc:chgData name="Ramon Hobdey-Sanchez" userId="3610b246-115d-4783-9e4b-a8b44f87e1bd" providerId="ADAL" clId="{973A4D2E-F9F7-4130-A052-8F0D04ACED11}" dt="2026-03-24T13:42:26.569" v="124" actId="2696"/>
        <pc:sldMkLst>
          <pc:docMk/>
          <pc:sldMk cId="1762476197" sldId="1064"/>
        </pc:sldMkLst>
      </pc:sldChg>
      <pc:sldChg chg="addSp modSp new mod">
        <pc:chgData name="Ramon Hobdey-Sanchez" userId="3610b246-115d-4783-9e4b-a8b44f87e1bd" providerId="ADAL" clId="{973A4D2E-F9F7-4130-A052-8F0D04ACED11}" dt="2026-03-25T01:35:07.569" v="1027" actId="14100"/>
        <pc:sldMkLst>
          <pc:docMk/>
          <pc:sldMk cId="3505924541" sldId="1064"/>
        </pc:sldMkLst>
        <pc:spChg chg="mod">
          <ac:chgData name="Ramon Hobdey-Sanchez" userId="3610b246-115d-4783-9e4b-a8b44f87e1bd" providerId="ADAL" clId="{973A4D2E-F9F7-4130-A052-8F0D04ACED11}" dt="2026-03-24T15:41:21.366" v="561" actId="115"/>
          <ac:spMkLst>
            <pc:docMk/>
            <pc:sldMk cId="3505924541" sldId="1064"/>
            <ac:spMk id="2" creationId="{AA6B711D-2022-AD33-A469-9644A43E40EE}"/>
          </ac:spMkLst>
        </pc:spChg>
        <pc:spChg chg="mod">
          <ac:chgData name="Ramon Hobdey-Sanchez" userId="3610b246-115d-4783-9e4b-a8b44f87e1bd" providerId="ADAL" clId="{973A4D2E-F9F7-4130-A052-8F0D04ACED11}" dt="2026-03-24T14:51:43.990" v="481" actId="20577"/>
          <ac:spMkLst>
            <pc:docMk/>
            <pc:sldMk cId="3505924541" sldId="1064"/>
            <ac:spMk id="3" creationId="{C4B23493-CD4E-1D9E-8664-0E5405D85167}"/>
          </ac:spMkLst>
        </pc:spChg>
        <pc:picChg chg="add mod">
          <ac:chgData name="Ramon Hobdey-Sanchez" userId="3610b246-115d-4783-9e4b-a8b44f87e1bd" providerId="ADAL" clId="{973A4D2E-F9F7-4130-A052-8F0D04ACED11}" dt="2026-03-25T01:35:07.569" v="1027" actId="14100"/>
          <ac:picMkLst>
            <pc:docMk/>
            <pc:sldMk cId="3505924541" sldId="1064"/>
            <ac:picMk id="4" creationId="{CD3DDA77-C5A7-8DF7-EBC9-2B6B63546CA5}"/>
          </ac:picMkLst>
        </pc:picChg>
      </pc:sldChg>
      <pc:sldChg chg="modSp new del mod">
        <pc:chgData name="Ramon Hobdey-Sanchez" userId="3610b246-115d-4783-9e4b-a8b44f87e1bd" providerId="ADAL" clId="{973A4D2E-F9F7-4130-A052-8F0D04ACED11}" dt="2026-03-24T14:43:29.947" v="195" actId="2696"/>
        <pc:sldMkLst>
          <pc:docMk/>
          <pc:sldMk cId="4191359638" sldId="1064"/>
        </pc:sldMkLst>
        <pc:spChg chg="mod">
          <ac:chgData name="Ramon Hobdey-Sanchez" userId="3610b246-115d-4783-9e4b-a8b44f87e1bd" providerId="ADAL" clId="{973A4D2E-F9F7-4130-A052-8F0D04ACED11}" dt="2026-03-24T14:43:23.395" v="194" actId="1076"/>
          <ac:spMkLst>
            <pc:docMk/>
            <pc:sldMk cId="4191359638" sldId="1064"/>
            <ac:spMk id="2" creationId="{EB8698F0-0C2F-DC59-8E79-86610032F087}"/>
          </ac:spMkLst>
        </pc:spChg>
      </pc:sldChg>
      <pc:sldChg chg="new del">
        <pc:chgData name="Ramon Hobdey-Sanchez" userId="3610b246-115d-4783-9e4b-a8b44f87e1bd" providerId="ADAL" clId="{973A4D2E-F9F7-4130-A052-8F0D04ACED11}" dt="2026-03-24T14:46:35.267" v="251" actId="2696"/>
        <pc:sldMkLst>
          <pc:docMk/>
          <pc:sldMk cId="36106494" sldId="1065"/>
        </pc:sldMkLst>
      </pc:sldChg>
      <pc:sldChg chg="addSp modSp new mod">
        <pc:chgData name="Ramon Hobdey-Sanchez" userId="3610b246-115d-4783-9e4b-a8b44f87e1bd" providerId="ADAL" clId="{973A4D2E-F9F7-4130-A052-8F0D04ACED11}" dt="2026-03-25T01:45:21.991" v="1081" actId="14100"/>
        <pc:sldMkLst>
          <pc:docMk/>
          <pc:sldMk cId="624009721" sldId="1065"/>
        </pc:sldMkLst>
        <pc:spChg chg="mod">
          <ac:chgData name="Ramon Hobdey-Sanchez" userId="3610b246-115d-4783-9e4b-a8b44f87e1bd" providerId="ADAL" clId="{973A4D2E-F9F7-4130-A052-8F0D04ACED11}" dt="2026-03-24T15:41:27.085" v="562" actId="113"/>
          <ac:spMkLst>
            <pc:docMk/>
            <pc:sldMk cId="624009721" sldId="1065"/>
            <ac:spMk id="2" creationId="{1C056FD3-9452-A293-261F-C317EAE0F41A}"/>
          </ac:spMkLst>
        </pc:spChg>
        <pc:spChg chg="mod">
          <ac:chgData name="Ramon Hobdey-Sanchez" userId="3610b246-115d-4783-9e4b-a8b44f87e1bd" providerId="ADAL" clId="{973A4D2E-F9F7-4130-A052-8F0D04ACED11}" dt="2026-03-25T01:45:00.765" v="1080" actId="20577"/>
          <ac:spMkLst>
            <pc:docMk/>
            <pc:sldMk cId="624009721" sldId="1065"/>
            <ac:spMk id="3" creationId="{D4D85742-2AF5-FFFE-49F0-9DD2340C7F2D}"/>
          </ac:spMkLst>
        </pc:spChg>
        <pc:picChg chg="add mod">
          <ac:chgData name="Ramon Hobdey-Sanchez" userId="3610b246-115d-4783-9e4b-a8b44f87e1bd" providerId="ADAL" clId="{973A4D2E-F9F7-4130-A052-8F0D04ACED11}" dt="2026-03-25T01:45:21.991" v="1081" actId="14100"/>
          <ac:picMkLst>
            <pc:docMk/>
            <pc:sldMk cId="624009721" sldId="1065"/>
            <ac:picMk id="4" creationId="{7878BA2F-68D8-32A3-98AF-6A4B61E9930F}"/>
          </ac:picMkLst>
        </pc:picChg>
      </pc:sldChg>
      <pc:sldChg chg="new del">
        <pc:chgData name="Ramon Hobdey-Sanchez" userId="3610b246-115d-4783-9e4b-a8b44f87e1bd" providerId="ADAL" clId="{973A4D2E-F9F7-4130-A052-8F0D04ACED11}" dt="2026-03-24T15:46:42.030" v="610" actId="2696"/>
        <pc:sldMkLst>
          <pc:docMk/>
          <pc:sldMk cId="519513541" sldId="1066"/>
        </pc:sldMkLst>
      </pc:sldChg>
      <pc:sldChg chg="addSp modSp add mod">
        <pc:chgData name="Ramon Hobdey-Sanchez" userId="3610b246-115d-4783-9e4b-a8b44f87e1bd" providerId="ADAL" clId="{973A4D2E-F9F7-4130-A052-8F0D04ACED11}" dt="2026-03-25T01:36:27.831" v="1040" actId="14100"/>
        <pc:sldMkLst>
          <pc:docMk/>
          <pc:sldMk cId="2288858620" sldId="1067"/>
        </pc:sldMkLst>
        <pc:spChg chg="mod">
          <ac:chgData name="Ramon Hobdey-Sanchez" userId="3610b246-115d-4783-9e4b-a8b44f87e1bd" providerId="ADAL" clId="{973A4D2E-F9F7-4130-A052-8F0D04ACED11}" dt="2026-03-24T15:46:48.530" v="612" actId="115"/>
          <ac:spMkLst>
            <pc:docMk/>
            <pc:sldMk cId="2288858620" sldId="1067"/>
            <ac:spMk id="3" creationId="{A21A426F-8E82-C758-3472-F53450DCC276}"/>
          </ac:spMkLst>
        </pc:spChg>
        <pc:spChg chg="mod">
          <ac:chgData name="Ramon Hobdey-Sanchez" userId="3610b246-115d-4783-9e4b-a8b44f87e1bd" providerId="ADAL" clId="{973A4D2E-F9F7-4130-A052-8F0D04ACED11}" dt="2026-03-25T00:42:14.125" v="938" actId="6549"/>
          <ac:spMkLst>
            <pc:docMk/>
            <pc:sldMk cId="2288858620" sldId="1067"/>
            <ac:spMk id="5" creationId="{09F2E252-F547-8B5F-F284-39FA8983FDEC}"/>
          </ac:spMkLst>
        </pc:spChg>
        <pc:picChg chg="add">
          <ac:chgData name="Ramon Hobdey-Sanchez" userId="3610b246-115d-4783-9e4b-a8b44f87e1bd" providerId="ADAL" clId="{973A4D2E-F9F7-4130-A052-8F0D04ACED11}" dt="2026-03-25T00:46:02.022" v="980"/>
          <ac:picMkLst>
            <pc:docMk/>
            <pc:sldMk cId="2288858620" sldId="1067"/>
            <ac:picMk id="6" creationId="{4B67D800-0771-FE9A-8E1C-C0079AFE1008}"/>
          </ac:picMkLst>
        </pc:picChg>
        <pc:picChg chg="mod">
          <ac:chgData name="Ramon Hobdey-Sanchez" userId="3610b246-115d-4783-9e4b-a8b44f87e1bd" providerId="ADAL" clId="{973A4D2E-F9F7-4130-A052-8F0D04ACED11}" dt="2026-03-25T01:36:27.831" v="1040" actId="14100"/>
          <ac:picMkLst>
            <pc:docMk/>
            <pc:sldMk cId="2288858620" sldId="1067"/>
            <ac:picMk id="1092" creationId="{5790647A-9A65-FF6C-FC8B-CCEC5D089371}"/>
          </ac:picMkLst>
        </pc:picChg>
      </pc:sldChg>
      <pc:sldChg chg="addSp delSp add del setBg delDesignElem">
        <pc:chgData name="Ramon Hobdey-Sanchez" userId="3610b246-115d-4783-9e4b-a8b44f87e1bd" providerId="ADAL" clId="{973A4D2E-F9F7-4130-A052-8F0D04ACED11}" dt="2026-03-24T13:33:47.179" v="76" actId="2696"/>
        <pc:sldMkLst>
          <pc:docMk/>
          <pc:sldMk cId="874228010" sldId="1091"/>
        </pc:sldMkLst>
        <pc:spChg chg="add del">
          <ac:chgData name="Ramon Hobdey-Sanchez" userId="3610b246-115d-4783-9e4b-a8b44f87e1bd" providerId="ADAL" clId="{973A4D2E-F9F7-4130-A052-8F0D04ACED11}" dt="2026-03-24T13:33:28.049" v="74"/>
          <ac:spMkLst>
            <pc:docMk/>
            <pc:sldMk cId="874228010" sldId="1091"/>
            <ac:spMk id="20" creationId="{7306981C-FFBD-0170-557C-91D5287418A9}"/>
          </ac:spMkLst>
        </pc:spChg>
        <pc:spChg chg="add del">
          <ac:chgData name="Ramon Hobdey-Sanchez" userId="3610b246-115d-4783-9e4b-a8b44f87e1bd" providerId="ADAL" clId="{973A4D2E-F9F7-4130-A052-8F0D04ACED11}" dt="2026-03-24T13:33:28.049" v="74"/>
          <ac:spMkLst>
            <pc:docMk/>
            <pc:sldMk cId="874228010" sldId="1091"/>
            <ac:spMk id="21" creationId="{A291D008-9EE2-4278-A177-EABAD0B65857}"/>
          </ac:spMkLst>
        </pc:spChg>
        <pc:spChg chg="add del">
          <ac:chgData name="Ramon Hobdey-Sanchez" userId="3610b246-115d-4783-9e4b-a8b44f87e1bd" providerId="ADAL" clId="{973A4D2E-F9F7-4130-A052-8F0D04ACED11}" dt="2026-03-24T13:33:28.049" v="74"/>
          <ac:spMkLst>
            <pc:docMk/>
            <pc:sldMk cId="874228010" sldId="1091"/>
            <ac:spMk id="22" creationId="{7969CE2E-281A-FD3A-0670-A282FB7A2ECB}"/>
          </ac:spMkLst>
        </pc:spChg>
        <pc:spChg chg="add del">
          <ac:chgData name="Ramon Hobdey-Sanchez" userId="3610b246-115d-4783-9e4b-a8b44f87e1bd" providerId="ADAL" clId="{973A4D2E-F9F7-4130-A052-8F0D04ACED11}" dt="2026-03-24T13:33:28.049" v="74"/>
          <ac:spMkLst>
            <pc:docMk/>
            <pc:sldMk cId="874228010" sldId="1091"/>
            <ac:spMk id="23" creationId="{0FD2E8A8-D29D-59DF-8C01-C78EBA40837F}"/>
          </ac:spMkLst>
        </pc:spChg>
        <pc:spChg chg="add del">
          <ac:chgData name="Ramon Hobdey-Sanchez" userId="3610b246-115d-4783-9e4b-a8b44f87e1bd" providerId="ADAL" clId="{973A4D2E-F9F7-4130-A052-8F0D04ACED11}" dt="2026-03-24T13:33:28.049" v="74"/>
          <ac:spMkLst>
            <pc:docMk/>
            <pc:sldMk cId="874228010" sldId="1091"/>
            <ac:spMk id="24" creationId="{80380EE6-D5FF-4F0A-F0A8-A68061D65992}"/>
          </ac:spMkLst>
        </pc:spChg>
      </pc:sldChg>
      <pc:sldChg chg="add del">
        <pc:chgData name="Ramon Hobdey-Sanchez" userId="3610b246-115d-4783-9e4b-a8b44f87e1bd" providerId="ADAL" clId="{973A4D2E-F9F7-4130-A052-8F0D04ACED11}" dt="2026-03-24T13:33:47.179" v="76" actId="2696"/>
        <pc:sldMkLst>
          <pc:docMk/>
          <pc:sldMk cId="3696701554" sldId="1092"/>
        </pc:sldMkLst>
      </pc:sldChg>
      <pc:sldChg chg="delSp add del setBg delDesignElem">
        <pc:chgData name="Ramon Hobdey-Sanchez" userId="3610b246-115d-4783-9e4b-a8b44f87e1bd" providerId="ADAL" clId="{973A4D2E-F9F7-4130-A052-8F0D04ACED11}" dt="2026-03-24T14:42:27.118" v="186" actId="2696"/>
        <pc:sldMkLst>
          <pc:docMk/>
          <pc:sldMk cId="3366282651" sldId="1104"/>
        </pc:sldMkLst>
        <pc:spChg chg="del">
          <ac:chgData name="Ramon Hobdey-Sanchez" userId="3610b246-115d-4783-9e4b-a8b44f87e1bd" providerId="ADAL" clId="{973A4D2E-F9F7-4130-A052-8F0D04ACED11}" dt="2026-03-24T14:41:25.732" v="184"/>
          <ac:spMkLst>
            <pc:docMk/>
            <pc:sldMk cId="3366282651" sldId="1104"/>
            <ac:spMk id="20" creationId="{006969A6-060B-29D8-9ED0-711904496DEA}"/>
          </ac:spMkLst>
        </pc:spChg>
        <pc:spChg chg="del">
          <ac:chgData name="Ramon Hobdey-Sanchez" userId="3610b246-115d-4783-9e4b-a8b44f87e1bd" providerId="ADAL" clId="{973A4D2E-F9F7-4130-A052-8F0D04ACED11}" dt="2026-03-24T14:41:25.732" v="184"/>
          <ac:spMkLst>
            <pc:docMk/>
            <pc:sldMk cId="3366282651" sldId="1104"/>
            <ac:spMk id="21" creationId="{BE3E0A66-71BF-B7E5-945C-5657F358CE60}"/>
          </ac:spMkLst>
        </pc:spChg>
        <pc:spChg chg="del">
          <ac:chgData name="Ramon Hobdey-Sanchez" userId="3610b246-115d-4783-9e4b-a8b44f87e1bd" providerId="ADAL" clId="{973A4D2E-F9F7-4130-A052-8F0D04ACED11}" dt="2026-03-24T14:41:25.732" v="184"/>
          <ac:spMkLst>
            <pc:docMk/>
            <pc:sldMk cId="3366282651" sldId="1104"/>
            <ac:spMk id="22" creationId="{BEDEEA3A-CA2F-4885-84BC-89D36CAAB3B7}"/>
          </ac:spMkLst>
        </pc:spChg>
        <pc:spChg chg="del">
          <ac:chgData name="Ramon Hobdey-Sanchez" userId="3610b246-115d-4783-9e4b-a8b44f87e1bd" providerId="ADAL" clId="{973A4D2E-F9F7-4130-A052-8F0D04ACED11}" dt="2026-03-24T14:41:25.732" v="184"/>
          <ac:spMkLst>
            <pc:docMk/>
            <pc:sldMk cId="3366282651" sldId="1104"/>
            <ac:spMk id="23" creationId="{9975353A-31D6-5DB0-9E6B-B94A9D8A4329}"/>
          </ac:spMkLst>
        </pc:spChg>
        <pc:spChg chg="del">
          <ac:chgData name="Ramon Hobdey-Sanchez" userId="3610b246-115d-4783-9e4b-a8b44f87e1bd" providerId="ADAL" clId="{973A4D2E-F9F7-4130-A052-8F0D04ACED11}" dt="2026-03-24T14:41:25.732" v="184"/>
          <ac:spMkLst>
            <pc:docMk/>
            <pc:sldMk cId="3366282651" sldId="1104"/>
            <ac:spMk id="24" creationId="{D220A07F-3526-EAC3-7F30-BAB172B31C38}"/>
          </ac:spMkLst>
        </pc:spChg>
      </pc:sldChg>
      <pc:sldChg chg="add del">
        <pc:chgData name="Ramon Hobdey-Sanchez" userId="3610b246-115d-4783-9e4b-a8b44f87e1bd" providerId="ADAL" clId="{973A4D2E-F9F7-4130-A052-8F0D04ACED11}" dt="2026-03-24T14:42:27.118" v="186" actId="2696"/>
        <pc:sldMkLst>
          <pc:docMk/>
          <pc:sldMk cId="176053612" sldId="1105"/>
        </pc:sldMkLst>
      </pc:sldChg>
      <pc:sldChg chg="add del setBg">
        <pc:chgData name="Ramon Hobdey-Sanchez" userId="3610b246-115d-4783-9e4b-a8b44f87e1bd" providerId="ADAL" clId="{973A4D2E-F9F7-4130-A052-8F0D04ACED11}" dt="2026-03-25T00:44:02.548" v="941" actId="2696"/>
        <pc:sldMkLst>
          <pc:docMk/>
          <pc:sldMk cId="3558434627" sldId="2147472297"/>
        </pc:sldMkLst>
      </pc:sldChg>
      <pc:sldChg chg="modSp add mod">
        <pc:chgData name="Ramon Hobdey-Sanchez" userId="3610b246-115d-4783-9e4b-a8b44f87e1bd" providerId="ADAL" clId="{973A4D2E-F9F7-4130-A052-8F0D04ACED11}" dt="2026-03-25T01:35:16.208" v="1028" actId="14100"/>
        <pc:sldMkLst>
          <pc:docMk/>
          <pc:sldMk cId="3602437948" sldId="2147472298"/>
        </pc:sldMkLst>
        <pc:spChg chg="mod">
          <ac:chgData name="Ramon Hobdey-Sanchez" userId="3610b246-115d-4783-9e4b-a8b44f87e1bd" providerId="ADAL" clId="{973A4D2E-F9F7-4130-A052-8F0D04ACED11}" dt="2026-03-25T00:45:12" v="975" actId="255"/>
          <ac:spMkLst>
            <pc:docMk/>
            <pc:sldMk cId="3602437948" sldId="2147472298"/>
            <ac:spMk id="7" creationId="{555911FB-0539-4EDD-BF5E-E23273DB40A6}"/>
          </ac:spMkLst>
        </pc:spChg>
        <pc:spChg chg="mod">
          <ac:chgData name="Ramon Hobdey-Sanchez" userId="3610b246-115d-4783-9e4b-a8b44f87e1bd" providerId="ADAL" clId="{973A4D2E-F9F7-4130-A052-8F0D04ACED11}" dt="2026-03-25T00:45:30.900" v="978" actId="113"/>
          <ac:spMkLst>
            <pc:docMk/>
            <pc:sldMk cId="3602437948" sldId="2147472298"/>
            <ac:spMk id="8" creationId="{F6F0E119-012D-4756-9B59-75F445AA2C63}"/>
          </ac:spMkLst>
        </pc:spChg>
        <pc:picChg chg="mod">
          <ac:chgData name="Ramon Hobdey-Sanchez" userId="3610b246-115d-4783-9e4b-a8b44f87e1bd" providerId="ADAL" clId="{973A4D2E-F9F7-4130-A052-8F0D04ACED11}" dt="2026-03-25T01:35:16.208" v="1028" actId="14100"/>
          <ac:picMkLst>
            <pc:docMk/>
            <pc:sldMk cId="3602437948" sldId="2147472298"/>
            <ac:picMk id="2" creationId="{A8C13A6F-7366-4966-53FA-EC7E8C7E086C}"/>
          </ac:picMkLst>
        </pc:picChg>
      </pc:sldChg>
      <pc:sldMasterChg chg="delSldLayout">
        <pc:chgData name="Ramon Hobdey-Sanchez" userId="3610b246-115d-4783-9e4b-a8b44f87e1bd" providerId="ADAL" clId="{973A4D2E-F9F7-4130-A052-8F0D04ACED11}" dt="2026-03-25T00:46:07.565" v="981" actId="2696"/>
        <pc:sldMasterMkLst>
          <pc:docMk/>
          <pc:sldMasterMk cId="3648494714" sldId="2147483776"/>
        </pc:sldMasterMkLst>
        <pc:sldLayoutChg chg="del">
          <pc:chgData name="Ramon Hobdey-Sanchez" userId="3610b246-115d-4783-9e4b-a8b44f87e1bd" providerId="ADAL" clId="{973A4D2E-F9F7-4130-A052-8F0D04ACED11}" dt="2026-03-25T00:46:07.565" v="981" actId="2696"/>
          <pc:sldLayoutMkLst>
            <pc:docMk/>
            <pc:sldMasterMk cId="3648494714" sldId="2147483776"/>
            <pc:sldLayoutMk cId="3564460921" sldId="2147483789"/>
          </pc:sldLayoutMkLst>
        </pc:sldLayoutChg>
      </pc:sldMasterChg>
      <pc:sldMasterChg chg="del delSldLayout">
        <pc:chgData name="Ramon Hobdey-Sanchez" userId="3610b246-115d-4783-9e4b-a8b44f87e1bd" providerId="ADAL" clId="{973A4D2E-F9F7-4130-A052-8F0D04ACED11}" dt="2026-03-24T14:42:27.118" v="186" actId="2696"/>
        <pc:sldMasterMkLst>
          <pc:docMk/>
          <pc:sldMasterMk cId="1263305195" sldId="2147483790"/>
        </pc:sldMasterMkLst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3470965518" sldId="2147483791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983889268" sldId="2147483792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3834241725" sldId="2147483793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3458451782" sldId="2147483794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1805944257" sldId="2147483795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3354852627" sldId="2147483796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237009169" sldId="2147483797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928006898" sldId="2147483798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3383708023" sldId="2147483799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3098937094" sldId="2147483800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97402010" sldId="2147483801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3546801843" sldId="2147483802"/>
          </pc:sldLayoutMkLst>
        </pc:sldLayoutChg>
        <pc:sldLayoutChg chg="del">
          <pc:chgData name="Ramon Hobdey-Sanchez" userId="3610b246-115d-4783-9e4b-a8b44f87e1bd" providerId="ADAL" clId="{973A4D2E-F9F7-4130-A052-8F0D04ACED11}" dt="2026-03-24T14:42:27.118" v="186" actId="2696"/>
          <pc:sldLayoutMkLst>
            <pc:docMk/>
            <pc:sldMasterMk cId="1263305195" sldId="2147483790"/>
            <pc:sldLayoutMk cId="1937443606" sldId="2147483803"/>
          </pc:sldLayoutMkLst>
        </pc:sldLayoutChg>
      </pc:sldMasterChg>
      <pc:sldMasterChg chg="del delSldLayout">
        <pc:chgData name="Ramon Hobdey-Sanchez" userId="3610b246-115d-4783-9e4b-a8b44f87e1bd" providerId="ADAL" clId="{973A4D2E-F9F7-4130-A052-8F0D04ACED11}" dt="2026-03-24T13:33:47.179" v="76" actId="2696"/>
        <pc:sldMasterMkLst>
          <pc:docMk/>
          <pc:sldMasterMk cId="1317495257" sldId="2147483790"/>
        </pc:sldMasterMkLst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1906415077" sldId="2147483791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2676989672" sldId="2147483792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1944760802" sldId="2147483793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300589916" sldId="2147483794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75105166" sldId="2147483795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1303888113" sldId="2147483796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513986949" sldId="2147483797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3102264421" sldId="2147483798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3598089490" sldId="2147483799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11229139" sldId="2147483800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3420968374" sldId="2147483801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2597107037" sldId="2147483802"/>
          </pc:sldLayoutMkLst>
        </pc:sldLayoutChg>
        <pc:sldLayoutChg chg="del">
          <pc:chgData name="Ramon Hobdey-Sanchez" userId="3610b246-115d-4783-9e4b-a8b44f87e1bd" providerId="ADAL" clId="{973A4D2E-F9F7-4130-A052-8F0D04ACED11}" dt="2026-03-24T13:33:47.179" v="76" actId="2696"/>
          <pc:sldLayoutMkLst>
            <pc:docMk/>
            <pc:sldMasterMk cId="1317495257" sldId="2147483790"/>
            <pc:sldLayoutMk cId="4078723027" sldId="2147483803"/>
          </pc:sldLayoutMkLst>
        </pc:sldLayoutChg>
      </pc:sldMasterChg>
      <pc:sldMasterChg chg="del delSldLayout">
        <pc:chgData name="Ramon Hobdey-Sanchez" userId="3610b246-115d-4783-9e4b-a8b44f87e1bd" providerId="ADAL" clId="{973A4D2E-F9F7-4130-A052-8F0D04ACED11}" dt="2026-03-24T13:33:00.638" v="69" actId="2696"/>
        <pc:sldMasterMkLst>
          <pc:docMk/>
          <pc:sldMasterMk cId="1808354846" sldId="2147483790"/>
        </pc:sldMasterMkLst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2854189490" sldId="2147483791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3015545164" sldId="2147483792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2301467736" sldId="2147483793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2776407250" sldId="2147483794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4285897774" sldId="2147483795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2535723955" sldId="2147483796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1143094147" sldId="2147483797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3572821536" sldId="2147483798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1840869095" sldId="2147483799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1203789836" sldId="2147483800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659122558" sldId="2147483801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4118329669" sldId="2147483802"/>
          </pc:sldLayoutMkLst>
        </pc:sldLayoutChg>
        <pc:sldLayoutChg chg="del">
          <pc:chgData name="Ramon Hobdey-Sanchez" userId="3610b246-115d-4783-9e4b-a8b44f87e1bd" providerId="ADAL" clId="{973A4D2E-F9F7-4130-A052-8F0D04ACED11}" dt="2026-03-24T13:33:00.638" v="69" actId="2696"/>
          <pc:sldLayoutMkLst>
            <pc:docMk/>
            <pc:sldMasterMk cId="1808354846" sldId="2147483790"/>
            <pc:sldLayoutMk cId="3009622057" sldId="2147483803"/>
          </pc:sldLayoutMkLst>
        </pc:sldLayoutChg>
      </pc:sldMasterChg>
      <pc:sldMasterChg chg="del delSldLayout">
        <pc:chgData name="Ramon Hobdey-Sanchez" userId="3610b246-115d-4783-9e4b-a8b44f87e1bd" providerId="ADAL" clId="{973A4D2E-F9F7-4130-A052-8F0D04ACED11}" dt="2026-03-24T12:35:02.464" v="56" actId="2696"/>
        <pc:sldMasterMkLst>
          <pc:docMk/>
          <pc:sldMasterMk cId="4218595365" sldId="2147483790"/>
        </pc:sldMasterMkLst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991876676" sldId="2147483791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1162425927" sldId="2147483792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2192629658" sldId="2147483793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2940839329" sldId="2147483794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3079545400" sldId="2147483795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3960263393" sldId="2147483796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414116058" sldId="2147483797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2402953091" sldId="2147483798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3593497391" sldId="2147483799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220684545" sldId="2147483800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3055530987" sldId="2147483801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561113934" sldId="2147483802"/>
          </pc:sldLayoutMkLst>
        </pc:sldLayoutChg>
        <pc:sldLayoutChg chg="del">
          <pc:chgData name="Ramon Hobdey-Sanchez" userId="3610b246-115d-4783-9e4b-a8b44f87e1bd" providerId="ADAL" clId="{973A4D2E-F9F7-4130-A052-8F0D04ACED11}" dt="2026-03-24T12:35:02.464" v="56" actId="2696"/>
          <pc:sldLayoutMkLst>
            <pc:docMk/>
            <pc:sldMasterMk cId="4218595365" sldId="2147483790"/>
            <pc:sldLayoutMk cId="1723957922" sldId="214748380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0EC7A15C-D809-4733-AFC8-24CA287E4F49}" type="datetimeFigureOut">
              <a:rPr lang="en-US" smtClean="0"/>
              <a:t>3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07D0B5D7-9538-4541-80F6-D28BDABBDF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470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>
          <a:extLst>
            <a:ext uri="{FF2B5EF4-FFF2-40B4-BE49-F238E27FC236}">
              <a16:creationId xmlns:a16="http://schemas.microsoft.com/office/drawing/2014/main" id="{E8DCE6BB-10CE-A63F-DAE3-D37410A093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>
            <a:extLst>
              <a:ext uri="{FF2B5EF4-FFF2-40B4-BE49-F238E27FC236}">
                <a16:creationId xmlns:a16="http://schemas.microsoft.com/office/drawing/2014/main" id="{BD8E96AA-42D6-7FE8-800B-5665FF8A2B2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>
            <a:extLst>
              <a:ext uri="{FF2B5EF4-FFF2-40B4-BE49-F238E27FC236}">
                <a16:creationId xmlns:a16="http://schemas.microsoft.com/office/drawing/2014/main" id="{89067A78-8613-BBAD-425C-22CA16A9340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58575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>
          <a:extLst>
            <a:ext uri="{FF2B5EF4-FFF2-40B4-BE49-F238E27FC236}">
              <a16:creationId xmlns:a16="http://schemas.microsoft.com/office/drawing/2014/main" id="{107CB7A4-C3CF-1E36-DDAD-6A3F6F07E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>
            <a:extLst>
              <a:ext uri="{FF2B5EF4-FFF2-40B4-BE49-F238E27FC236}">
                <a16:creationId xmlns:a16="http://schemas.microsoft.com/office/drawing/2014/main" id="{01C2B550-0E8D-8E26-4F11-FFA7C16EE4E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>
            <a:extLst>
              <a:ext uri="{FF2B5EF4-FFF2-40B4-BE49-F238E27FC236}">
                <a16:creationId xmlns:a16="http://schemas.microsoft.com/office/drawing/2014/main" id="{502D61D7-857C-68E7-2BD8-1AB04D33DDC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384875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7" name="Google Shape;1117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8" name="Google Shape;1118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9" name="Google Shape;1119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/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>
          <a:extLst>
            <a:ext uri="{FF2B5EF4-FFF2-40B4-BE49-F238E27FC236}">
              <a16:creationId xmlns:a16="http://schemas.microsoft.com/office/drawing/2014/main" id="{53120D56-7260-0F48-F778-5249ACD4CA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>
            <a:extLst>
              <a:ext uri="{FF2B5EF4-FFF2-40B4-BE49-F238E27FC236}">
                <a16:creationId xmlns:a16="http://schemas.microsoft.com/office/drawing/2014/main" id="{D653212C-C403-D0C8-77E5-FA8B6FA0F6E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>
            <a:extLst>
              <a:ext uri="{FF2B5EF4-FFF2-40B4-BE49-F238E27FC236}">
                <a16:creationId xmlns:a16="http://schemas.microsoft.com/office/drawing/2014/main" id="{43E64734-2AE7-0159-BAAE-2AE99E9562F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664734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>
          <a:extLst>
            <a:ext uri="{FF2B5EF4-FFF2-40B4-BE49-F238E27FC236}">
              <a16:creationId xmlns:a16="http://schemas.microsoft.com/office/drawing/2014/main" id="{E04FC596-6BE6-77B6-4615-0EC19DBF1E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>
            <a:extLst>
              <a:ext uri="{FF2B5EF4-FFF2-40B4-BE49-F238E27FC236}">
                <a16:creationId xmlns:a16="http://schemas.microsoft.com/office/drawing/2014/main" id="{97B2DD72-B16F-E4E5-B795-1C136F7BFFA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>
            <a:extLst>
              <a:ext uri="{FF2B5EF4-FFF2-40B4-BE49-F238E27FC236}">
                <a16:creationId xmlns:a16="http://schemas.microsoft.com/office/drawing/2014/main" id="{442B04CA-B277-6025-ED02-A9133622495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26014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>
          <a:extLst>
            <a:ext uri="{FF2B5EF4-FFF2-40B4-BE49-F238E27FC236}">
              <a16:creationId xmlns:a16="http://schemas.microsoft.com/office/drawing/2014/main" id="{CD5C2FF0-E15A-F60A-4DCC-E1747B4D0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>
            <a:extLst>
              <a:ext uri="{FF2B5EF4-FFF2-40B4-BE49-F238E27FC236}">
                <a16:creationId xmlns:a16="http://schemas.microsoft.com/office/drawing/2014/main" id="{B3252654-C1A2-0571-E5B1-791E98FE662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>
            <a:extLst>
              <a:ext uri="{FF2B5EF4-FFF2-40B4-BE49-F238E27FC236}">
                <a16:creationId xmlns:a16="http://schemas.microsoft.com/office/drawing/2014/main" id="{602AFC11-87EC-1127-DFCB-407E4A631F5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34253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>
          <a:extLst>
            <a:ext uri="{FF2B5EF4-FFF2-40B4-BE49-F238E27FC236}">
              <a16:creationId xmlns:a16="http://schemas.microsoft.com/office/drawing/2014/main" id="{07E6528C-0017-9BC2-7359-B5B7FC9C4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>
            <a:extLst>
              <a:ext uri="{FF2B5EF4-FFF2-40B4-BE49-F238E27FC236}">
                <a16:creationId xmlns:a16="http://schemas.microsoft.com/office/drawing/2014/main" id="{5C8A6FD4-680C-E787-4D19-16E825DB614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>
            <a:extLst>
              <a:ext uri="{FF2B5EF4-FFF2-40B4-BE49-F238E27FC236}">
                <a16:creationId xmlns:a16="http://schemas.microsoft.com/office/drawing/2014/main" id="{6E679E39-F574-E1A0-31A1-36995D71DD6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383881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>
          <a:extLst>
            <a:ext uri="{FF2B5EF4-FFF2-40B4-BE49-F238E27FC236}">
              <a16:creationId xmlns:a16="http://schemas.microsoft.com/office/drawing/2014/main" id="{A489A048-2E22-8E6C-8D20-945C6496B1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>
            <a:extLst>
              <a:ext uri="{FF2B5EF4-FFF2-40B4-BE49-F238E27FC236}">
                <a16:creationId xmlns:a16="http://schemas.microsoft.com/office/drawing/2014/main" id="{30ACF316-7B4D-72BD-EDA5-CA1D3FF7654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>
            <a:extLst>
              <a:ext uri="{FF2B5EF4-FFF2-40B4-BE49-F238E27FC236}">
                <a16:creationId xmlns:a16="http://schemas.microsoft.com/office/drawing/2014/main" id="{83E08ABA-0762-8A7C-ABD7-362F0D696A3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06727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>
          <a:extLst>
            <a:ext uri="{FF2B5EF4-FFF2-40B4-BE49-F238E27FC236}">
              <a16:creationId xmlns:a16="http://schemas.microsoft.com/office/drawing/2014/main" id="{C80AF36A-5FB4-4F27-ADF8-A3EC3B14CE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>
            <a:extLst>
              <a:ext uri="{FF2B5EF4-FFF2-40B4-BE49-F238E27FC236}">
                <a16:creationId xmlns:a16="http://schemas.microsoft.com/office/drawing/2014/main" id="{004E94D8-40B1-AF3B-0A69-42D015A51C5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>
            <a:extLst>
              <a:ext uri="{FF2B5EF4-FFF2-40B4-BE49-F238E27FC236}">
                <a16:creationId xmlns:a16="http://schemas.microsoft.com/office/drawing/2014/main" id="{24F99921-1935-0F50-7F9C-3C282779953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296397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4">
          <a:extLst>
            <a:ext uri="{FF2B5EF4-FFF2-40B4-BE49-F238E27FC236}">
              <a16:creationId xmlns:a16="http://schemas.microsoft.com/office/drawing/2014/main" id="{DD53E8CA-34B6-2581-42AA-E69A16B48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6:notes">
            <a:extLst>
              <a:ext uri="{FF2B5EF4-FFF2-40B4-BE49-F238E27FC236}">
                <a16:creationId xmlns:a16="http://schemas.microsoft.com/office/drawing/2014/main" id="{924E0FF7-405F-5311-9B4E-5CF214B9978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17918" y="4554671"/>
            <a:ext cx="5743335" cy="3726549"/>
          </a:xfrm>
          <a:prstGeom prst="rect">
            <a:avLst/>
          </a:prstGeom>
        </p:spPr>
        <p:txBody>
          <a:bodyPr spcFirstLastPara="1" wrap="square" lIns="95075" tIns="47524" rIns="95075" bIns="47524" anchor="t" anchorCtr="0">
            <a:noAutofit/>
          </a:bodyPr>
          <a:lstStyle/>
          <a:p>
            <a:endParaRPr/>
          </a:p>
        </p:txBody>
      </p:sp>
      <p:sp>
        <p:nvSpPr>
          <p:cNvPr id="1086" name="Google Shape;1086;p6:notes">
            <a:extLst>
              <a:ext uri="{FF2B5EF4-FFF2-40B4-BE49-F238E27FC236}">
                <a16:creationId xmlns:a16="http://schemas.microsoft.com/office/drawing/2014/main" id="{6A3AC2D6-E5DB-96F6-02E4-68F7FE9BE16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60500" y="1184275"/>
            <a:ext cx="4257675" cy="3194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95793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6.xml"/><Relationship Id="rId7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6.xml"/><Relationship Id="rId7" Type="http://schemas.openxmlformats.org/officeDocument/2006/relationships/image" Target="../media/image11.png"/><Relationship Id="rId2" Type="http://schemas.openxmlformats.org/officeDocument/2006/relationships/tags" Target="../tags/tag45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0.xml"/><Relationship Id="rId7" Type="http://schemas.openxmlformats.org/officeDocument/2006/relationships/image" Target="../media/image14.png"/><Relationship Id="rId2" Type="http://schemas.openxmlformats.org/officeDocument/2006/relationships/tags" Target="../tags/tag49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4.xml"/><Relationship Id="rId7" Type="http://schemas.openxmlformats.org/officeDocument/2006/relationships/image" Target="../media/image15.png"/><Relationship Id="rId2" Type="http://schemas.openxmlformats.org/officeDocument/2006/relationships/tags" Target="../tags/tag53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8.xml"/><Relationship Id="rId7" Type="http://schemas.openxmlformats.org/officeDocument/2006/relationships/image" Target="../media/image15.png"/><Relationship Id="rId2" Type="http://schemas.openxmlformats.org/officeDocument/2006/relationships/tags" Target="../tags/tag57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2.xml"/><Relationship Id="rId7" Type="http://schemas.openxmlformats.org/officeDocument/2006/relationships/image" Target="../media/image7.png"/><Relationship Id="rId2" Type="http://schemas.openxmlformats.org/officeDocument/2006/relationships/tags" Target="../tags/tag61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8.xml"/><Relationship Id="rId7" Type="http://schemas.openxmlformats.org/officeDocument/2006/relationships/image" Target="../media/image7.png"/><Relationship Id="rId2" Type="http://schemas.openxmlformats.org/officeDocument/2006/relationships/tags" Target="../tags/tag67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2.xml"/><Relationship Id="rId7" Type="http://schemas.openxmlformats.org/officeDocument/2006/relationships/image" Target="../media/image7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9.xml"/><Relationship Id="rId7" Type="http://schemas.openxmlformats.org/officeDocument/2006/relationships/image" Target="../media/image2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8.png"/><Relationship Id="rId4" Type="http://schemas.openxmlformats.org/officeDocument/2006/relationships/tags" Target="../tags/tag80.xml"/><Relationship Id="rId9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Relationship Id="rId9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Relationship Id="rId9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Relationship Id="rId9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Relationship Id="rId9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Relationship Id="rId9" Type="http://schemas.openxmlformats.org/officeDocument/2006/relationships/image" Target="../media/image8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Relationship Id="rId9" Type="http://schemas.openxmlformats.org/officeDocument/2006/relationships/image" Target="../media/image8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8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Relationship Id="rId9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Relationship Id="rId9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Relationship Id="rId9" Type="http://schemas.openxmlformats.org/officeDocument/2006/relationships/image" Target="../media/image8.pn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Relationship Id="rId9" Type="http://schemas.openxmlformats.org/officeDocument/2006/relationships/image" Target="../media/image8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Relationship Id="rId9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Relationship Id="rId9" Type="http://schemas.openxmlformats.org/officeDocument/2006/relationships/image" Target="../media/image8.pn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Relationship Id="rId9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Relationship Id="rId9" Type="http://schemas.openxmlformats.org/officeDocument/2006/relationships/image" Target="../media/image8.pn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Relationship Id="rId9" Type="http://schemas.openxmlformats.org/officeDocument/2006/relationships/image" Target="../media/image8.pn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1.xml"/><Relationship Id="rId7" Type="http://schemas.openxmlformats.org/officeDocument/2006/relationships/image" Target="../media/image7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Relationship Id="rId9" Type="http://schemas.openxmlformats.org/officeDocument/2006/relationships/image" Target="../media/image8.png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50.xml"/><Relationship Id="rId7" Type="http://schemas.openxmlformats.org/officeDocument/2006/relationships/image" Target="../media/image7.png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Relationship Id="rId9" Type="http://schemas.openxmlformats.org/officeDocument/2006/relationships/image" Target="../media/image8.png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Relationship Id="rId9" Type="http://schemas.openxmlformats.org/officeDocument/2006/relationships/image" Target="../media/image8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5280875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19063" cy="158750"/>
          </a:xfrm>
          <a:prstGeom prst="rect">
            <a:avLst/>
          </a:prstGeom>
          <a:solidFill>
            <a:srgbClr val="0A3161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4450191"/>
            <a:ext cx="9144000" cy="2407811"/>
          </a:xfrm>
          <a:prstGeom prst="rect">
            <a:avLst/>
          </a:prstGeom>
          <a:solidFill>
            <a:srgbClr val="164484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/>
            <a:endParaRPr lang="en-US" sz="1600" b="0" noProof="0">
              <a:solidFill>
                <a:srgbClr val="FFFFFF"/>
              </a:solidFill>
            </a:endParaRPr>
          </a:p>
        </p:txBody>
      </p:sp>
      <p:sp>
        <p:nvSpPr>
          <p:cNvPr id="17" name="Rectangle">
            <a:extLst>
              <a:ext uri="{FF2B5EF4-FFF2-40B4-BE49-F238E27FC236}">
                <a16:creationId xmlns:a16="http://schemas.microsoft.com/office/drawing/2014/main" id="{E1223535-0F2F-6340-80B9-0B5D9364A13F}"/>
              </a:ext>
            </a:extLst>
          </p:cNvPr>
          <p:cNvSpPr/>
          <p:nvPr userDrawn="1"/>
        </p:nvSpPr>
        <p:spPr>
          <a:xfrm>
            <a:off x="476250" y="633875"/>
            <a:ext cx="81915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/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822960" y="1746715"/>
            <a:ext cx="7543800" cy="2578399"/>
          </a:xfrm>
          <a:prstGeom prst="rect">
            <a:avLst/>
          </a:prstGeom>
        </p:spPr>
        <p:txBody>
          <a:bodyPr vert="horz" lIns="91440" tIns="0" rIns="91440" bIns="0" anchor="b">
            <a:normAutofit/>
          </a:bodyPr>
          <a:lstStyle>
            <a:lvl1pPr algn="l">
              <a:lnSpc>
                <a:spcPct val="90000"/>
              </a:lnSpc>
              <a:defRPr sz="7200" cap="all" spc="-51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825038" y="4645152"/>
            <a:ext cx="7543800" cy="702188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400"/>
            </a:lvl2pPr>
            <a:lvl3pPr marL="914377" indent="0" algn="ctr">
              <a:buNone/>
              <a:defRPr sz="2400"/>
            </a:lvl3pPr>
            <a:lvl4pPr marL="1371566" indent="0" algn="ctr">
              <a:buNone/>
              <a:defRPr sz="2000"/>
            </a:lvl4pPr>
            <a:lvl5pPr marL="1828754" indent="0" algn="ctr">
              <a:buNone/>
              <a:defRPr sz="2000"/>
            </a:lvl5pPr>
            <a:lvl6pPr marL="2285943" indent="0" algn="ctr">
              <a:buNone/>
              <a:defRPr sz="2000"/>
            </a:lvl6pPr>
            <a:lvl7pPr marL="2743131" indent="0" algn="ctr">
              <a:buNone/>
              <a:defRPr sz="2000"/>
            </a:lvl7pPr>
            <a:lvl8pPr marL="3200320" indent="0" algn="ctr">
              <a:buNone/>
              <a:defRPr sz="2000"/>
            </a:lvl8pPr>
            <a:lvl9pPr marL="3657509" indent="0" algn="ctr">
              <a:buNone/>
              <a:defRPr sz="20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163820" y="5489936"/>
            <a:ext cx="2205019" cy="338554"/>
          </a:xfrm>
        </p:spPr>
        <p:txBody>
          <a:bodyPr lIns="91440" tIns="0" rIns="91440" bIns="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defRPr sz="2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177" y="758952"/>
            <a:ext cx="573786" cy="76504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036" y="755033"/>
            <a:ext cx="579665" cy="772886"/>
          </a:xfrm>
          <a:prstGeom prst="rect">
            <a:avLst/>
          </a:prstGeom>
        </p:spPr>
      </p:pic>
      <p:pic>
        <p:nvPicPr>
          <p:cNvPr id="14" name="Picture 13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DF0EAAD-A4F9-40F3-B882-FDDE618EEBA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619" y="5585564"/>
            <a:ext cx="760634" cy="50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60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2544261-8049-494B-A93D-BDFF1BB84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251" y="3135207"/>
            <a:ext cx="3665141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214786D-83EE-814C-A5E4-D0EC7D29D0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81872" y="878114"/>
            <a:ext cx="4485878" cy="5101772"/>
          </a:xfrm>
        </p:spPr>
        <p:txBody>
          <a:bodyPr anchor="ctr">
            <a:normAutofit/>
          </a:bodyPr>
          <a:lstStyle>
            <a:lvl1pPr marL="342891" indent="-342891">
              <a:buClr>
                <a:schemeClr val="tx1"/>
              </a:buClr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544054" indent="-342891">
              <a:buClr>
                <a:schemeClr val="tx1"/>
              </a:buClr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2pPr>
            <a:lvl3pPr marL="612633" indent="-228594">
              <a:buClr>
                <a:schemeClr val="tx1"/>
              </a:buClr>
              <a:buFont typeface="+mj-lt"/>
              <a:buAutoNum type="arabicPeriod"/>
              <a:defRPr sz="1100" b="0">
                <a:solidFill>
                  <a:schemeClr val="tx1"/>
                </a:solidFill>
              </a:defRPr>
            </a:lvl3pPr>
            <a:lvl4pPr marL="795508" indent="-228594">
              <a:buClr>
                <a:schemeClr val="tx1"/>
              </a:buClr>
              <a:buFont typeface="+mj-lt"/>
              <a:buAutoNum type="arabicPeriod"/>
              <a:defRPr sz="1100" b="0">
                <a:solidFill>
                  <a:schemeClr val="tx1"/>
                </a:solidFill>
              </a:defRPr>
            </a:lvl4pPr>
            <a:lvl5pPr marL="978384" indent="-228594">
              <a:buClr>
                <a:schemeClr val="tx1"/>
              </a:buClr>
              <a:buFont typeface="+mj-lt"/>
              <a:buAutoNum type="arabicPeriod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5" name="Picture 14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2CB36B3-6B9A-46FF-A62C-D7201FB524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396" y="6104713"/>
            <a:ext cx="760634" cy="50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58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9987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56091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18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18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18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" name="Google Shape;180;p18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" name="Google Shape;181;p18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2954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9"/>
          <p:cNvSpPr txBox="1"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9"/>
          <p:cNvSpPr txBox="1"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9pPr>
          </a:lstStyle>
          <a:p>
            <a:endParaRPr/>
          </a:p>
        </p:txBody>
      </p:sp>
      <p:sp>
        <p:nvSpPr>
          <p:cNvPr id="185" name="Google Shape;185;p1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" name="Google Shape;186;p19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19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6237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21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1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1"/>
          <p:cNvSpPr txBox="1">
            <a:spLocks noGrp="1"/>
          </p:cNvSpPr>
          <p:nvPr>
            <p:ph type="body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21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" name="Google Shape;199;p21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" name="Google Shape;200;p2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5362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22"/>
          <p:cNvSpPr txBox="1"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" name="Google Shape;203;p22"/>
          <p:cNvSpPr txBox="1"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204" name="Google Shape;204;p22"/>
          <p:cNvSpPr txBox="1">
            <a:spLocks noGrp="1"/>
          </p:cNvSpPr>
          <p:nvPr>
            <p:ph type="body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" name="Google Shape;205;p22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206" name="Google Shape;206;p22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" name="Google Shape;207;p22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" name="Google Shape;208;p22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" name="Google Shape;209;p22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92423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23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23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3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" name="Google Shape;214;p23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4203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24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" name="Google Shape;217;p24"/>
          <p:cNvSpPr txBox="1">
            <a:spLocks noGrp="1"/>
          </p:cNvSpPr>
          <p:nvPr>
            <p:ph type="body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3238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2400"/>
            </a:lvl1pPr>
            <a:lvl2pPr marL="685800" lvl="1" indent="-3048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100"/>
            </a:lvl2pPr>
            <a:lvl3pPr marL="1028700" lvl="2" indent="-2857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800"/>
            </a:lvl3pPr>
            <a:lvl4pPr marL="1371600" lvl="3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4pPr>
            <a:lvl5pPr marL="1714500" lvl="4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5pPr>
            <a:lvl6pPr marL="2057400" lvl="5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6pPr>
            <a:lvl7pPr marL="2400300" lvl="6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7pPr>
            <a:lvl8pPr marL="2743200" lvl="7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8pPr>
            <a:lvl9pPr marL="3086100" lvl="8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9pPr>
          </a:lstStyle>
          <a:p>
            <a:endParaRPr/>
          </a:p>
        </p:txBody>
      </p:sp>
      <p:sp>
        <p:nvSpPr>
          <p:cNvPr id="218" name="Google Shape;218;p24"/>
          <p:cNvSpPr txBox="1">
            <a:spLocks noGrp="1"/>
          </p:cNvSpPr>
          <p:nvPr>
            <p:ph type="body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219" name="Google Shape;219;p24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0" name="Google Shape;220;p24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" name="Google Shape;221;p24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95013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25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4" name="Google Shape;224;p25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4"/>
            <a:ext cx="4351338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5" name="Google Shape;225;p2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6" name="Google Shape;226;p25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7" name="Google Shape;227;p25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16616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26"/>
          <p:cNvSpPr txBox="1">
            <a:spLocks noGrp="1"/>
          </p:cNvSpPr>
          <p:nvPr>
            <p:ph type="title"/>
          </p:nvPr>
        </p:nvSpPr>
        <p:spPr>
          <a:xfrm rot="5400000">
            <a:off x="4623594" y="2285207"/>
            <a:ext cx="5811838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0" name="Google Shape;230;p26"/>
          <p:cNvSpPr txBox="1">
            <a:spLocks noGrp="1"/>
          </p:cNvSpPr>
          <p:nvPr>
            <p:ph type="body" idx="1"/>
          </p:nvPr>
        </p:nvSpPr>
        <p:spPr>
          <a:xfrm rot="5400000">
            <a:off x="623094" y="370682"/>
            <a:ext cx="5811838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" name="Google Shape;231;p26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2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p26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1933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52137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">
            <a:extLst>
              <a:ext uri="{FF2B5EF4-FFF2-40B4-BE49-F238E27FC236}">
                <a16:creationId xmlns:a16="http://schemas.microsoft.com/office/drawing/2014/main" id="{2E148DD3-DD87-154B-80B4-2421965D3C83}"/>
              </a:ext>
            </a:extLst>
          </p:cNvPr>
          <p:cNvSpPr/>
          <p:nvPr userDrawn="1"/>
        </p:nvSpPr>
        <p:spPr>
          <a:xfrm>
            <a:off x="1" y="1714500"/>
            <a:ext cx="9144000" cy="3429000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/>
            <a:endParaRPr lang="en-US" sz="1600" b="0" noProof="0">
              <a:solidFill>
                <a:srgbClr val="FFFFFF"/>
              </a:solidFill>
            </a:endParaRPr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42E4732-0E8F-7B46-BD08-0F2EE0DA8786}"/>
              </a:ext>
            </a:extLst>
          </p:cNvPr>
          <p:cNvSpPr/>
          <p:nvPr userDrawn="1"/>
        </p:nvSpPr>
        <p:spPr>
          <a:xfrm>
            <a:off x="476250" y="633875"/>
            <a:ext cx="81915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E73F81A-7260-5C4F-A7FF-CA2CC731BC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2902" y="942871"/>
            <a:ext cx="4283858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4082902" y="1973589"/>
            <a:ext cx="4283858" cy="3941540"/>
          </a:xfrm>
        </p:spPr>
        <p:txBody>
          <a:bodyPr lIns="0" tIns="45720" rIns="0" bIns="45720"/>
          <a:lstStyle>
            <a:lvl1pPr marL="91438" indent="-91438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defRPr sz="1600" b="0">
                <a:solidFill>
                  <a:schemeClr val="tx1"/>
                </a:solidFill>
              </a:defRPr>
            </a:lvl1pPr>
            <a:lvl2pPr marL="384038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2pPr>
            <a:lvl3pPr marL="566914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3pPr>
            <a:lvl4pPr marL="749789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4pPr>
            <a:lvl5pPr marL="932665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1"/>
          </p:nvPr>
        </p:nvSpPr>
        <p:spPr>
          <a:xfrm>
            <a:off x="453877" y="621039"/>
            <a:ext cx="3441848" cy="5603086"/>
          </a:xfrm>
          <a:solidFill>
            <a:srgbClr val="EDEFF7"/>
          </a:solidFill>
        </p:spPr>
        <p:txBody>
          <a:bodyPr lIns="0" tIns="45720" rIns="0" bIns="45720"/>
          <a:lstStyle>
            <a:lvl1pPr marL="91438" indent="-91438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defRPr sz="1600" b="0">
                <a:solidFill>
                  <a:schemeClr val="tx1"/>
                </a:solidFill>
              </a:defRPr>
            </a:lvl1pPr>
            <a:lvl2pPr marL="384038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2pPr>
            <a:lvl3pPr marL="566914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3pPr>
            <a:lvl4pPr marL="749789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4pPr>
            <a:lvl5pPr marL="932665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1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4EB23-9BCA-FA99-7412-D7AD63183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2EDE924-C536-7E78-A311-E0CE25816F9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C24CE2-C44F-5112-D253-DCBEB0CCDA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C9ED67-D065-E8F2-8438-38C97576F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FFFDB-EB3E-4E7C-A4F5-6A0AAA9FB299}" type="datetimeFigureOut">
              <a:rPr lang="en-US" smtClean="0"/>
              <a:t>3/24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8CB65F-55B2-2176-DE0E-343C85BCB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0427BD-F5FC-E592-6368-35E025C1C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5D536-391A-4CD2-A00D-635B187A8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04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60196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">
            <a:extLst>
              <a:ext uri="{FF2B5EF4-FFF2-40B4-BE49-F238E27FC236}">
                <a16:creationId xmlns:a16="http://schemas.microsoft.com/office/drawing/2014/main" id="{9C88DF2D-0421-A94C-82C1-867E1E5E4907}"/>
              </a:ext>
            </a:extLst>
          </p:cNvPr>
          <p:cNvSpPr/>
          <p:nvPr userDrawn="1"/>
        </p:nvSpPr>
        <p:spPr>
          <a:xfrm>
            <a:off x="8245186" y="0"/>
            <a:ext cx="898814" cy="6858000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/>
            <a:endParaRPr lang="en-US" sz="1600" b="0" noProof="0">
              <a:solidFill>
                <a:srgbClr val="FFFFFF"/>
              </a:solidFill>
            </a:endParaRP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334D05A3-7A20-9447-8D39-F2980D85413A}"/>
              </a:ext>
            </a:extLst>
          </p:cNvPr>
          <p:cNvSpPr/>
          <p:nvPr userDrawn="1"/>
        </p:nvSpPr>
        <p:spPr>
          <a:xfrm>
            <a:off x="476250" y="633875"/>
            <a:ext cx="81915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476249" y="3927894"/>
            <a:ext cx="8191500" cy="2326856"/>
          </a:xfrm>
          <a:prstGeom prst="rect">
            <a:avLst/>
          </a:prstGeom>
          <a:solidFill>
            <a:srgbClr val="F6F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80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76252" y="603253"/>
            <a:ext cx="8191499" cy="3294019"/>
          </a:xfrm>
          <a:solidFill>
            <a:schemeClr val="bg1"/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4298078"/>
            <a:ext cx="7585234" cy="743682"/>
          </a:xfrm>
          <a:prstGeom prst="rect">
            <a:avLst/>
          </a:prstGeom>
        </p:spPr>
        <p:txBody>
          <a:bodyPr vert="horz" tIns="0" bIns="0" anchor="b">
            <a:noAutofit/>
          </a:bodyPr>
          <a:lstStyle>
            <a:lvl1pPr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22959" y="5213716"/>
            <a:ext cx="7584948" cy="6096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Oval 4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70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83490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00038" y="387885"/>
            <a:ext cx="7482636" cy="56673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 b="0" i="0" u="none" kern="1200" spc="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164484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98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70373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387885"/>
            <a:ext cx="7482636" cy="566735"/>
          </a:xfrm>
        </p:spPr>
        <p:txBody>
          <a:bodyPr vert="horz"/>
          <a:lstStyle>
            <a:lvl1pPr>
              <a:defRPr sz="3000">
                <a:solidFill>
                  <a:srgbClr val="0A31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0039" y="1869728"/>
            <a:ext cx="8543924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23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121343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300039" y="1544274"/>
            <a:ext cx="2761762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000">
                <a:solidFill>
                  <a:srgbClr val="0A31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923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60445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8" y="2668041"/>
            <a:ext cx="7215368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43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484474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3826800"/>
            <a:ext cx="82026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3680016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3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745290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7" y="0"/>
            <a:ext cx="312713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1" y="0"/>
            <a:ext cx="305963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300039" y="2681103"/>
            <a:ext cx="2518373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000" baseline="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00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545111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6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537896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300039" y="387886"/>
            <a:ext cx="4865062" cy="56673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 b="0" i="0" u="none" kern="1200" spc="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304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3163403" y="3"/>
            <a:ext cx="2699427" cy="6857999"/>
          </a:xfrm>
          <a:prstGeom prst="rect">
            <a:avLst/>
          </a:prstGeom>
          <a:solidFill>
            <a:srgbClr val="16448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E1223535-0F2F-6340-80B9-0B5D9364A13F}"/>
              </a:ext>
            </a:extLst>
          </p:cNvPr>
          <p:cNvSpPr/>
          <p:nvPr userDrawn="1"/>
        </p:nvSpPr>
        <p:spPr>
          <a:xfrm>
            <a:off x="476250" y="633875"/>
            <a:ext cx="81915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758952"/>
            <a:ext cx="75438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cap="all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4645152"/>
            <a:ext cx="75438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189" indent="0" algn="ctr">
              <a:buNone/>
              <a:defRPr sz="2400"/>
            </a:lvl2pPr>
            <a:lvl3pPr marL="914377" indent="0" algn="ctr">
              <a:buNone/>
              <a:defRPr sz="2400"/>
            </a:lvl3pPr>
            <a:lvl4pPr marL="1371566" indent="0" algn="ctr">
              <a:buNone/>
              <a:defRPr sz="2000"/>
            </a:lvl4pPr>
            <a:lvl5pPr marL="1828754" indent="0" algn="ctr">
              <a:buNone/>
              <a:defRPr sz="2000"/>
            </a:lvl5pPr>
            <a:lvl6pPr marL="2285943" indent="0" algn="ctr">
              <a:buNone/>
              <a:defRPr sz="2000"/>
            </a:lvl6pPr>
            <a:lvl7pPr marL="2743131" indent="0" algn="ctr">
              <a:buNone/>
              <a:defRPr sz="2000"/>
            </a:lvl7pPr>
            <a:lvl8pPr marL="3200320" indent="0" algn="ctr">
              <a:buNone/>
              <a:defRPr sz="2000"/>
            </a:lvl8pPr>
            <a:lvl9pPr marL="3657509" indent="0" algn="ctr">
              <a:buNone/>
              <a:defRPr sz="20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4719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194909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3" y="0"/>
            <a:ext cx="312713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00039" y="2681103"/>
            <a:ext cx="2518373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39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302455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8" y="0"/>
            <a:ext cx="312713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0510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00039" y="1785600"/>
            <a:ext cx="346376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50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509548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8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9" y="0"/>
            <a:ext cx="327934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4840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30" y="3917292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00039" y="1785600"/>
            <a:ext cx="485812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03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082255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300040" y="2764206"/>
            <a:ext cx="2031440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000" baseline="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08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0228143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A3161"/>
              </a:gs>
              <a:gs pos="100000">
                <a:srgbClr val="0A316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00040" y="2764206"/>
            <a:ext cx="2031440" cy="1314311"/>
          </a:xfrm>
        </p:spPr>
        <p:txBody>
          <a:bodyPr vert="horz" anchor="ctr" anchorCtr="0">
            <a:noAutofit/>
          </a:bodyPr>
          <a:lstStyle>
            <a:lvl1pPr>
              <a:defRPr sz="30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1630981" y="3402831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TextBox 1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487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084497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0038" y="1785600"/>
            <a:ext cx="321913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5" y="3394395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0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46297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A3161"/>
              </a:gs>
              <a:gs pos="100000">
                <a:srgbClr val="0A316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00038" y="1785600"/>
            <a:ext cx="321913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3545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TextBox 14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97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096699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1" y="0"/>
            <a:ext cx="477266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300040" y="387886"/>
            <a:ext cx="3677696" cy="56673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 b="0" i="0" u="none" kern="1200" spc="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1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703225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1" y="0"/>
            <a:ext cx="477266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A3161"/>
              </a:gs>
              <a:gs pos="100000">
                <a:srgbClr val="0A316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300040" y="387886"/>
            <a:ext cx="3677696" cy="56673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3345130" y="3407806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extBox 14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9510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067706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300039" y="387886"/>
            <a:ext cx="4865062" cy="56673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 b="0" i="0" u="none" kern="1200" spc="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5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06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315173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0039" y="1869728"/>
            <a:ext cx="8543924" cy="4072976"/>
          </a:xfrm>
        </p:spPr>
        <p:txBody>
          <a:bodyPr lIns="0" tIns="45720" rIns="0" bIns="45720"/>
          <a:lstStyle>
            <a:lvl1pPr marL="91438" indent="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None/>
              <a:defRPr sz="2000" b="0">
                <a:solidFill>
                  <a:schemeClr val="tx1"/>
                </a:solidFill>
              </a:defRPr>
            </a:lvl1pPr>
            <a:lvl2pPr marL="384038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800" b="0">
                <a:solidFill>
                  <a:schemeClr val="tx1"/>
                </a:solidFill>
              </a:defRPr>
            </a:lvl2pPr>
            <a:lvl3pPr marL="566914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400" b="0">
                <a:solidFill>
                  <a:schemeClr val="tx1"/>
                </a:solidFill>
              </a:defRPr>
            </a:lvl3pPr>
            <a:lvl4pPr marL="749789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400" b="0">
                <a:solidFill>
                  <a:schemeClr val="tx1"/>
                </a:solidFill>
              </a:defRPr>
            </a:lvl4pPr>
            <a:lvl5pPr marL="932665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429A40D-770E-C144-A5B5-6A4442C09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387885"/>
            <a:ext cx="7482636" cy="56673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8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5" name="Picture 14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435686E-F802-4D6A-96B7-682013BAF30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396" y="6104713"/>
            <a:ext cx="760634" cy="50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92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483715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A3161"/>
              </a:gs>
              <a:gs pos="100000">
                <a:srgbClr val="0A3161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300039" y="387886"/>
            <a:ext cx="4865062" cy="56673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4925722" y="3407806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extBox 14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130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105635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Oval 10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418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402987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625475"/>
            <a:ext cx="699516" cy="932688"/>
          </a:xfrm>
          <a:prstGeom prst="rect">
            <a:avLst/>
          </a:prstGeom>
          <a:noFill/>
          <a:ln>
            <a:solidFill>
              <a:srgbClr val="559A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59AED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947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F24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53612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40" y="1353922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3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A316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4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56628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00038" y="387885"/>
            <a:ext cx="7482636" cy="566735"/>
          </a:xfrm>
        </p:spPr>
        <p:txBody>
          <a:bodyPr vert="horz"/>
          <a:lstStyle>
            <a:lvl1pPr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6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52088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4663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73450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31950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039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093027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4450191"/>
            <a:ext cx="9144000" cy="2407811"/>
          </a:xfrm>
          <a:prstGeom prst="rect">
            <a:avLst/>
          </a:prstGeom>
          <a:solidFill>
            <a:srgbClr val="164484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sp>
        <p:nvSpPr>
          <p:cNvPr id="17" name="Rectangle">
            <a:extLst>
              <a:ext uri="{FF2B5EF4-FFF2-40B4-BE49-F238E27FC236}">
                <a16:creationId xmlns:a16="http://schemas.microsoft.com/office/drawing/2014/main" id="{E1223535-0F2F-6340-80B9-0B5D9364A13F}"/>
              </a:ext>
            </a:extLst>
          </p:cNvPr>
          <p:cNvSpPr/>
          <p:nvPr userDrawn="1"/>
        </p:nvSpPr>
        <p:spPr>
          <a:xfrm>
            <a:off x="476250" y="633875"/>
            <a:ext cx="81915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3660" y="2269236"/>
            <a:ext cx="1297686" cy="17302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3419" y="2270252"/>
            <a:ext cx="1296162" cy="172821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100" y="4616360"/>
            <a:ext cx="1209996" cy="80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1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57281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005942"/>
              <a:ext cx="9030915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860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927813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9" y="2057400"/>
            <a:ext cx="4002724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0"/>
          </p:nvPr>
        </p:nvSpPr>
        <p:spPr>
          <a:xfrm>
            <a:off x="300039" y="2958277"/>
            <a:ext cx="4002724" cy="2910821"/>
          </a:xfrm>
        </p:spPr>
        <p:txBody>
          <a:bodyPr lIns="0" tIns="45720" rIns="0" bIns="45720"/>
          <a:lstStyle>
            <a:lvl1pPr marL="91438" indent="-91438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defRPr sz="1600" b="0">
                <a:solidFill>
                  <a:schemeClr val="tx1"/>
                </a:solidFill>
              </a:defRPr>
            </a:lvl1pPr>
            <a:lvl2pPr marL="384038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400" b="0">
                <a:solidFill>
                  <a:schemeClr val="tx1"/>
                </a:solidFill>
              </a:defRPr>
            </a:lvl2pPr>
            <a:lvl3pPr marL="566914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100" b="0">
                <a:solidFill>
                  <a:schemeClr val="tx1"/>
                </a:solidFill>
              </a:defRPr>
            </a:lvl3pPr>
            <a:lvl4pPr marL="749789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100" b="0">
                <a:solidFill>
                  <a:schemeClr val="tx1"/>
                </a:solidFill>
              </a:defRPr>
            </a:lvl4pPr>
            <a:lvl5pPr marL="932665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86958" y="2057400"/>
            <a:ext cx="3957004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1"/>
          </p:nvPr>
        </p:nvSpPr>
        <p:spPr>
          <a:xfrm>
            <a:off x="4886960" y="2958277"/>
            <a:ext cx="3957003" cy="2910821"/>
          </a:xfrm>
        </p:spPr>
        <p:txBody>
          <a:bodyPr lIns="0" tIns="45720" rIns="0" bIns="45720"/>
          <a:lstStyle>
            <a:lvl1pPr marL="91438" indent="-91438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defRPr sz="1600" b="0">
                <a:solidFill>
                  <a:schemeClr val="tx1"/>
                </a:solidFill>
              </a:defRPr>
            </a:lvl1pPr>
            <a:lvl2pPr marL="384038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400" b="0">
                <a:solidFill>
                  <a:schemeClr val="tx1"/>
                </a:solidFill>
              </a:defRPr>
            </a:lvl2pPr>
            <a:lvl3pPr marL="566914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100" b="0">
                <a:solidFill>
                  <a:schemeClr val="tx1"/>
                </a:solidFill>
              </a:defRPr>
            </a:lvl3pPr>
            <a:lvl4pPr marL="749789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100" b="0">
                <a:solidFill>
                  <a:schemeClr val="tx1"/>
                </a:solidFill>
              </a:defRPr>
            </a:lvl4pPr>
            <a:lvl5pPr marL="932665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9E345E4-E77C-484E-9FBB-E4EC71F08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387885"/>
            <a:ext cx="7482636" cy="56673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5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30" name="TextBox 29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9" name="Picture 18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508B343-43FA-4501-A38C-0A3D303E760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396" y="6104713"/>
            <a:ext cx="760634" cy="50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13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13280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EB418D-BF89-45FF-9A32-925AD834A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19063" cy="158750"/>
          </a:xfrm>
          <a:prstGeom prst="rect">
            <a:avLst/>
          </a:prstGeom>
          <a:solidFill>
            <a:srgbClr val="0A3161"/>
          </a:solidFill>
          <a:ln w="9525" cap="rnd" cmpd="sng" algn="ctr">
            <a:solidFill>
              <a:srgbClr val="0A316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00" b="0" i="0" baseline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58750"/>
          </a:xfrm>
          <a:prstGeom prst="rect">
            <a:avLst/>
          </a:prstGeom>
          <a:solidFill>
            <a:srgbClr val="0A3161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6A08E9EE-D0D1-4E44-AC19-F1C9DEDB4EA7}"/>
              </a:ext>
            </a:extLst>
          </p:cNvPr>
          <p:cNvSpPr/>
          <p:nvPr userDrawn="1"/>
        </p:nvSpPr>
        <p:spPr>
          <a:xfrm flipH="1">
            <a:off x="-1" y="4450191"/>
            <a:ext cx="9144000" cy="2407811"/>
          </a:xfrm>
          <a:prstGeom prst="rect">
            <a:avLst/>
          </a:prstGeom>
          <a:solidFill>
            <a:srgbClr val="0A3160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/>
            <a:endParaRPr lang="en-US" sz="1600" b="0" noProof="0">
              <a:solidFill>
                <a:srgbClr val="FFFFFF"/>
              </a:solidFill>
            </a:endParaRP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1EF87EFA-95C8-4D1F-8DC4-932771BF24BD}"/>
              </a:ext>
            </a:extLst>
          </p:cNvPr>
          <p:cNvSpPr/>
          <p:nvPr userDrawn="1"/>
        </p:nvSpPr>
        <p:spPr>
          <a:xfrm>
            <a:off x="476250" y="633875"/>
            <a:ext cx="81915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2712E20-6489-49CA-9AC7-122B587161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2960" y="1746715"/>
            <a:ext cx="7543800" cy="2578399"/>
          </a:xfrm>
          <a:prstGeom prst="rect">
            <a:avLst/>
          </a:prstGeom>
        </p:spPr>
        <p:txBody>
          <a:bodyPr vert="horz" lIns="91440" tIns="0" rIns="91440" bIns="0" anchor="b">
            <a:normAutofit/>
          </a:bodyPr>
          <a:lstStyle>
            <a:lvl1pPr algn="l">
              <a:lnSpc>
                <a:spcPct val="90000"/>
              </a:lnSpc>
              <a:defRPr sz="7200" cap="all" spc="-51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85FD3F6-CD13-4768-86AD-FCC6B69DAE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038" y="4645152"/>
            <a:ext cx="7543800" cy="702188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400"/>
            </a:lvl2pPr>
            <a:lvl3pPr marL="914377" indent="0" algn="ctr">
              <a:buNone/>
              <a:defRPr sz="2400"/>
            </a:lvl3pPr>
            <a:lvl4pPr marL="1371566" indent="0" algn="ctr">
              <a:buNone/>
              <a:defRPr sz="2000"/>
            </a:lvl4pPr>
            <a:lvl5pPr marL="1828754" indent="0" algn="ctr">
              <a:buNone/>
              <a:defRPr sz="2000"/>
            </a:lvl5pPr>
            <a:lvl6pPr marL="2285943" indent="0" algn="ctr">
              <a:buNone/>
              <a:defRPr sz="2000"/>
            </a:lvl6pPr>
            <a:lvl7pPr marL="2743131" indent="0" algn="ctr">
              <a:buNone/>
              <a:defRPr sz="2000"/>
            </a:lvl7pPr>
            <a:lvl8pPr marL="3200320" indent="0" algn="ctr">
              <a:buNone/>
              <a:defRPr sz="2000"/>
            </a:lvl8pPr>
            <a:lvl9pPr marL="3657509" indent="0" algn="ctr">
              <a:buNone/>
              <a:defRPr sz="20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BB94F6E8-F526-412C-B16B-0659AA7820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3820" y="5489936"/>
            <a:ext cx="2205019" cy="338554"/>
          </a:xfrm>
        </p:spPr>
        <p:txBody>
          <a:bodyPr lIns="91440" tIns="0" rIns="91440" bIns="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defRPr sz="2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F260695-44BF-4D02-9345-63778EF3370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177" y="758952"/>
            <a:ext cx="573786" cy="76504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1D6A575-B211-48B1-BB91-4CB3C3D015D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2FEBF33-CCF6-41D9-A096-DFEB071172B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036" y="755033"/>
            <a:ext cx="579665" cy="7728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618" y="5570053"/>
            <a:ext cx="672174" cy="448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7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49379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00038" y="387885"/>
            <a:ext cx="7482636" cy="566735"/>
          </a:xfrm>
        </p:spPr>
        <p:txBody>
          <a:bodyPr vert="horz"/>
          <a:lstStyle>
            <a:lvl1pPr>
              <a:defRPr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2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164484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45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4060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A31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0039" y="1869728"/>
            <a:ext cx="8543924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59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992673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00039" y="2158990"/>
            <a:ext cx="298046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300039" y="1227051"/>
            <a:ext cx="2980462" cy="664797"/>
          </a:xfrm>
        </p:spPr>
        <p:txBody>
          <a:bodyPr vert="horz" anchor="t">
            <a:noAutofit/>
          </a:bodyPr>
          <a:lstStyle>
            <a:lvl1pPr>
              <a:defRPr sz="300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50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7613265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8" y="2668041"/>
            <a:ext cx="721536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1" y="1424084"/>
            <a:ext cx="713791" cy="951721"/>
          </a:xfrm>
          <a:prstGeom prst="rect">
            <a:avLst/>
          </a:prstGeom>
          <a:noFill/>
          <a:ln>
            <a:solidFill>
              <a:srgbClr val="559AE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02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594208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3826800"/>
            <a:ext cx="82026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3680016"/>
            <a:ext cx="8668940" cy="0"/>
          </a:xfrm>
          <a:prstGeom prst="line">
            <a:avLst/>
          </a:prstGeom>
          <a:ln w="19050" cmpd="sng">
            <a:solidFill>
              <a:srgbClr val="559AED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53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14546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7" y="0"/>
            <a:ext cx="312713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0"/>
            <a:ext cx="3059631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300039" y="2681103"/>
            <a:ext cx="2518373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00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65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08311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6" y="0"/>
            <a:ext cx="312713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537896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0039" y="387885"/>
            <a:ext cx="4879859" cy="56673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04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717344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6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0039" y="387885"/>
            <a:ext cx="6248650" cy="56673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59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26219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3" y="0"/>
            <a:ext cx="312713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300039" y="2681103"/>
            <a:ext cx="2518373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49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54259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D4076461-FF7A-8843-B7F9-D041F3FB22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387885"/>
            <a:ext cx="7482636" cy="56673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164484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5" name="Picture 14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46D375C3-A374-4BFA-8C46-DFBBE74DC37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396" y="6104713"/>
            <a:ext cx="760634" cy="50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13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902777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8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7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00039" y="1785600"/>
            <a:ext cx="3463762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51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97296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8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9" y="0"/>
            <a:ext cx="327934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20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00039" y="1785600"/>
            <a:ext cx="485882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39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4519972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1" y="2764206"/>
            <a:ext cx="1858979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50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28065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64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00040" y="2764206"/>
            <a:ext cx="2031440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1630981" y="3402831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4" name="TextBox 13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62037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00038" y="1785600"/>
            <a:ext cx="321913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5" y="3394395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29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96680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A3161"/>
              </a:gs>
              <a:gs pos="100000">
                <a:srgbClr val="0A316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00038" y="1785600"/>
            <a:ext cx="321913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3545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7" name="TextBox 16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8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7730614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1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00040" y="387885"/>
            <a:ext cx="3733328" cy="56673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94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02576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1" y="0"/>
            <a:ext cx="477266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A3161"/>
              </a:gs>
              <a:gs pos="100000">
                <a:srgbClr val="0A316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00040" y="387885"/>
            <a:ext cx="3733328" cy="56673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3345130" y="3407806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362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2942159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0039" y="387885"/>
            <a:ext cx="4863334" cy="56673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A31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5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94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243884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A3161"/>
              </a:gs>
              <a:gs pos="100000">
                <a:srgbClr val="0A3161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0039" y="387885"/>
            <a:ext cx="4863334" cy="56673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4925722" y="3407806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89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058736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B9308E97-4F89-394E-856A-5B4EFCB2E7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0038" y="1930864"/>
            <a:ext cx="2618952" cy="2919413"/>
          </a:xfrm>
          <a:solidFill>
            <a:srgbClr val="EDEFF7"/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0BECA0-8817-964B-AEDB-A45669684C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62524" y="1930864"/>
            <a:ext cx="2618952" cy="2919413"/>
          </a:xfrm>
          <a:solidFill>
            <a:srgbClr val="EDEFF7"/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F399F4D-B67A-4C4B-BCF3-36FE110603F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25011" y="1930864"/>
            <a:ext cx="2618952" cy="2919413"/>
          </a:xfrm>
          <a:solidFill>
            <a:srgbClr val="EDEFF7"/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8305C84-E25F-EC49-8F2B-4C0181FD3AB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00038" y="5257321"/>
            <a:ext cx="2618952" cy="583534"/>
          </a:xfr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57A1FCE-E6BF-3747-9D43-42DBA6656EC0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3262525" y="5257321"/>
            <a:ext cx="2618952" cy="583534"/>
          </a:xfr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B4B74C8-96E7-684F-91B9-8CE56CD10F1E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6225011" y="5257321"/>
            <a:ext cx="2618952" cy="583534"/>
          </a:xfr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D522564E-B348-544F-A8E5-CFCAFA48B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387885"/>
            <a:ext cx="7482636" cy="56673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31" name="TextBox 30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27" name="Picture 26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175F0F5-7243-4EAF-98AC-3A57EBD6595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396" y="6104713"/>
            <a:ext cx="760634" cy="50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53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05850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45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85874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625475"/>
            <a:ext cx="699516" cy="932688"/>
          </a:xfrm>
          <a:prstGeom prst="rect">
            <a:avLst/>
          </a:prstGeom>
          <a:noFill/>
          <a:ln>
            <a:solidFill>
              <a:srgbClr val="559A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59AED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13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F24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211115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40" y="1353922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3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A316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271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43833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0038" y="387885"/>
            <a:ext cx="7482636" cy="56673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24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8581753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300039" y="2147208"/>
            <a:ext cx="2287012" cy="25635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000" cap="all" baseline="0">
                <a:solidFill>
                  <a:srgbClr val="0A31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33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415124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930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166537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13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899957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53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4823895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4450191"/>
            <a:ext cx="9144000" cy="2407811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E1223535-0F2F-6340-80B9-0B5D9364A13F}"/>
              </a:ext>
            </a:extLst>
          </p:cNvPr>
          <p:cNvSpPr/>
          <p:nvPr userDrawn="1"/>
        </p:nvSpPr>
        <p:spPr>
          <a:xfrm>
            <a:off x="476250" y="633875"/>
            <a:ext cx="81915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3660" y="2269236"/>
            <a:ext cx="1297686" cy="17302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3419" y="2270252"/>
            <a:ext cx="1296162" cy="172821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100" y="4616360"/>
            <a:ext cx="1209996" cy="80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69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98176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005942"/>
              <a:ext cx="9030915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682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ient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0" name="Picture 9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70BF2D77-D06F-4BAD-8BCE-72029791C4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396" y="6104713"/>
            <a:ext cx="760634" cy="50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13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256357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10" y="4691187"/>
            <a:ext cx="697003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907198"/>
            <a:ext cx="2586600" cy="350215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211260" y="1115416"/>
            <a:ext cx="310854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cap="all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29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628909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46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7584207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2501" y="622800"/>
            <a:ext cx="53924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cap="all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98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034656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3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00038" y="3207401"/>
            <a:ext cx="1623842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000" cap="all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90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0466024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041110" y="4691187"/>
            <a:ext cx="697003" cy="995874"/>
          </a:xfrm>
          <a:prstGeom prst="rect">
            <a:avLst/>
          </a:prstGeom>
          <a:noFill/>
          <a:ln w="9525">
            <a:solidFill>
              <a:srgbClr val="559AE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rgbClr val="559AE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0A316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907197"/>
            <a:ext cx="2586600" cy="3502152"/>
          </a:xfrm>
          <a:prstGeom prst="rect">
            <a:avLst/>
          </a:prstGeom>
          <a:noFill/>
          <a:ln>
            <a:solidFill>
              <a:srgbClr val="559AED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211260" y="1115416"/>
            <a:ext cx="310854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400" cap="all" baseline="0">
                <a:solidFill>
                  <a:srgbClr val="559AED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66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107735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rgbClr val="559AE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rgbClr val="559AE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2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860862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72501" y="622800"/>
            <a:ext cx="53924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cap="all" baseline="0">
                <a:solidFill>
                  <a:srgbClr val="559AED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rgbClr val="559AED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045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987159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3" y="0"/>
            <a:ext cx="312713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00038" y="3221251"/>
            <a:ext cx="1623842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000" cap="all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85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A3161"/>
            </a:gs>
            <a:gs pos="100000">
              <a:srgbClr val="0A316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51620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300039" y="2147208"/>
            <a:ext cx="2287012" cy="25635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000" cap="all" baseline="0">
                <a:solidFill>
                  <a:srgbClr val="559AED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6473430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8709294" y="62758"/>
            <a:ext cx="401087" cy="534783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A316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260" y="6104713"/>
            <a:ext cx="625649" cy="41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95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38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21BED569-C9C5-8F4D-A42A-ED4914579D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43412" y="942870"/>
            <a:ext cx="4224338" cy="4972258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ACB6E588-2EB7-9A41-A93A-7757596EF9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6816" y="942870"/>
            <a:ext cx="3117972" cy="1292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896816" y="2281660"/>
            <a:ext cx="3117972" cy="3633471"/>
          </a:xfrm>
        </p:spPr>
        <p:txBody>
          <a:bodyPr lIns="0" tIns="45720" rIns="0" bIns="45720"/>
          <a:lstStyle>
            <a:lvl1pPr marL="91438" indent="-91438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defRPr sz="1600" b="0">
                <a:solidFill>
                  <a:schemeClr val="tx1"/>
                </a:solidFill>
              </a:defRPr>
            </a:lvl1pPr>
            <a:lvl2pPr marL="384038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400" b="0">
                <a:solidFill>
                  <a:schemeClr val="tx1"/>
                </a:solidFill>
              </a:defRPr>
            </a:lvl2pPr>
            <a:lvl3pPr marL="566914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100" b="0">
                <a:solidFill>
                  <a:schemeClr val="tx1"/>
                </a:solidFill>
              </a:defRPr>
            </a:lvl3pPr>
            <a:lvl4pPr marL="749789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100" b="0">
                <a:solidFill>
                  <a:schemeClr val="tx1"/>
                </a:solidFill>
              </a:defRPr>
            </a:lvl4pPr>
            <a:lvl5pPr marL="932665" indent="-182875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11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C779D16-EC43-4B19-AB0D-A9ABF12B97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396" y="6104713"/>
            <a:ext cx="760634" cy="50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42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0618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6835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75156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10946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14310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483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19467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7867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38547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573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90972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05C2191-88F7-4148-96FD-E129F707E038}"/>
              </a:ext>
            </a:extLst>
          </p:cNvPr>
          <p:cNvCxnSpPr/>
          <p:nvPr userDrawn="1"/>
        </p:nvCxnSpPr>
        <p:spPr>
          <a:xfrm>
            <a:off x="5113795" y="999568"/>
            <a:ext cx="0" cy="485887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FB2196-E251-5A40-86F7-6092CEBFA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250" y="3135207"/>
            <a:ext cx="4095744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4400"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FACD1B-0D9C-A547-98A0-D66C341D3D7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655596" y="831289"/>
            <a:ext cx="3012155" cy="5195425"/>
          </a:xfrm>
        </p:spPr>
        <p:txBody>
          <a:bodyPr anchor="ctr">
            <a:normAutofit/>
          </a:bodyPr>
          <a:lstStyle>
            <a:lvl1pPr marL="342891" indent="-342891">
              <a:buClr>
                <a:schemeClr val="tx1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054" indent="-342891">
              <a:buClr>
                <a:schemeClr val="tx1"/>
              </a:buClr>
              <a:buFont typeface="+mj-lt"/>
              <a:buAutoNum type="arabicPeriod"/>
              <a:defRPr sz="1400"/>
            </a:lvl2pPr>
            <a:lvl3pPr marL="612633" indent="-228594">
              <a:buClr>
                <a:schemeClr val="tx1"/>
              </a:buClr>
              <a:buFont typeface="+mj-lt"/>
              <a:buAutoNum type="arabicPeriod"/>
              <a:defRPr sz="1100"/>
            </a:lvl3pPr>
            <a:lvl4pPr marL="795508" indent="-228594">
              <a:buClr>
                <a:schemeClr val="tx1"/>
              </a:buClr>
              <a:buFont typeface="+mj-lt"/>
              <a:buAutoNum type="arabicPeriod"/>
              <a:defRPr sz="1100"/>
            </a:lvl4pPr>
            <a:lvl5pPr marL="978384" indent="-228594">
              <a:buClr>
                <a:schemeClr val="tx1"/>
              </a:buClr>
              <a:buFont typeface="+mj-lt"/>
              <a:buAutoNum type="arabicPeriod"/>
              <a:defRPr sz="1100"/>
            </a:lvl5pPr>
          </a:lstStyle>
          <a:p>
            <a:pPr lvl="0"/>
            <a:r>
              <a:rPr lang="en-US" noProof="0"/>
              <a:t>Quote Goes Here</a:t>
            </a:r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6642104"/>
            <a:ext cx="9144000" cy="215899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sym typeface="Helvetica Neue Medium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988" y="62758"/>
            <a:ext cx="401087" cy="534783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122A9B-054C-4F83-91F5-F2D61FBEA56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1890" y="2"/>
            <a:ext cx="2640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94" y="69421"/>
            <a:ext cx="391089" cy="521452"/>
          </a:xfrm>
          <a:prstGeom prst="rect">
            <a:avLst/>
          </a:prstGeom>
        </p:spPr>
      </p:pic>
      <p:pic>
        <p:nvPicPr>
          <p:cNvPr id="16" name="Picture 15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64C10D1-0A06-40EB-8EB8-277649AFED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396" y="6104713"/>
            <a:ext cx="760634" cy="50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67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1_Picture with Caption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16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16"/>
          <p:cNvSpPr>
            <a:spLocks noGrp="1"/>
          </p:cNvSpPr>
          <p:nvPr>
            <p:ph type="pic" idx="2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68" name="Google Shape;168;p16"/>
          <p:cNvSpPr txBox="1">
            <a:spLocks noGrp="1"/>
          </p:cNvSpPr>
          <p:nvPr>
            <p:ph type="body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169" name="Google Shape;169;p16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6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89305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62730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62431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9370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91073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79117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3494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4229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9432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338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0"/>
            </p:custDataLst>
            <p:extLst>
              <p:ext uri="{D42A27DB-BD31-4B8C-83A1-F6EECF244321}">
                <p14:modId xmlns:p14="http://schemas.microsoft.com/office/powerpoint/2010/main" val="1446524747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1" imgW="270" imgH="270" progId="TCLayout.ActiveDocument.1">
                  <p:embed/>
                </p:oleObj>
              </mc:Choice>
              <mc:Fallback>
                <p:oleObj name="think-cell Slide" r:id="rId8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00038" y="387885"/>
            <a:ext cx="7482636" cy="5667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00038" y="1825625"/>
            <a:ext cx="8543925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43375" y="6360230"/>
            <a:ext cx="50059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973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6" r:id="rId32"/>
    <p:sldLayoutId id="2147483717" r:id="rId33"/>
    <p:sldLayoutId id="2147483718" r:id="rId34"/>
    <p:sldLayoutId id="2147483719" r:id="rId35"/>
    <p:sldLayoutId id="2147483720" r:id="rId36"/>
    <p:sldLayoutId id="2147483721" r:id="rId37"/>
    <p:sldLayoutId id="2147483722" r:id="rId38"/>
    <p:sldLayoutId id="2147483723" r:id="rId39"/>
    <p:sldLayoutId id="2147483724" r:id="rId40"/>
    <p:sldLayoutId id="2147483725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  <p:sldLayoutId id="2147483733" r:id="rId49"/>
    <p:sldLayoutId id="2147483734" r:id="rId50"/>
    <p:sldLayoutId id="2147483735" r:id="rId51"/>
    <p:sldLayoutId id="2147483736" r:id="rId52"/>
    <p:sldLayoutId id="2147483737" r:id="rId53"/>
    <p:sldLayoutId id="2147483738" r:id="rId54"/>
    <p:sldLayoutId id="2147483739" r:id="rId55"/>
    <p:sldLayoutId id="2147483740" r:id="rId56"/>
    <p:sldLayoutId id="2147483741" r:id="rId57"/>
    <p:sldLayoutId id="2147483742" r:id="rId58"/>
    <p:sldLayoutId id="2147483743" r:id="rId59"/>
    <p:sldLayoutId id="2147483744" r:id="rId60"/>
    <p:sldLayoutId id="2147483745" r:id="rId61"/>
    <p:sldLayoutId id="2147483746" r:id="rId62"/>
    <p:sldLayoutId id="2147483747" r:id="rId63"/>
    <p:sldLayoutId id="2147483748" r:id="rId64"/>
    <p:sldLayoutId id="2147483749" r:id="rId65"/>
    <p:sldLayoutId id="2147483750" r:id="rId66"/>
    <p:sldLayoutId id="2147483751" r:id="rId67"/>
    <p:sldLayoutId id="2147483752" r:id="rId68"/>
    <p:sldLayoutId id="2147483753" r:id="rId69"/>
    <p:sldLayoutId id="2147483754" r:id="rId70"/>
    <p:sldLayoutId id="2147483755" r:id="rId71"/>
    <p:sldLayoutId id="2147483756" r:id="rId72"/>
    <p:sldLayoutId id="2147483757" r:id="rId73"/>
    <p:sldLayoutId id="2147483758" r:id="rId74"/>
    <p:sldLayoutId id="2147483759" r:id="rId75"/>
    <p:sldLayoutId id="2147483760" r:id="rId76"/>
    <p:sldLayoutId id="2147483761" r:id="rId77"/>
    <p:sldLayoutId id="2147483762" r:id="rId7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000" kern="1200" cap="all" baseline="0">
          <a:solidFill>
            <a:srgbClr val="0A316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A3161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A3161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A3161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A3161"/>
        </a:buClr>
        <a:buFont typeface="Arial" panose="020B0604020202020204" pitchFamily="34" charset="0"/>
        <a:buChar char="​"/>
        <a:defRPr lang="en-US" sz="1600" kern="1200">
          <a:solidFill>
            <a:srgbClr val="0A3161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A3161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A3161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A316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A3161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A3161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A3161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A3161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297" userDrawn="1">
          <p15:clr>
            <a:srgbClr val="F26B43"/>
          </p15:clr>
        </p15:guide>
        <p15:guide id="3" pos="5463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49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</p:sldLayoutIdLst>
  <p:hf sldNum="0"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Abadi" panose="020F0502020204030204" pitchFamily="34" charset="0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badi" panose="020F0502020204030204" pitchFamily="34" charset="0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Abad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bad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Abadi" panose="020F050202020403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Abadi" panose="020F050202020403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80381E-0FFB-4FA0-B98A-63F2D5B536F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242EAD-4917-4756-87A8-C376699FD1F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199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15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11157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1.xml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9.jp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hyperlink" Target="https://linkup.idaho.gov/" TargetMode="External"/><Relationship Id="rId9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22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0.xml"/><Relationship Id="rId5" Type="http://schemas.openxmlformats.org/officeDocument/2006/relationships/image" Target="cid:image003.png@01DCAD41.A2251150" TargetMode="Externa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alphaModFix amt="92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rapezoid 3">
            <a:extLst>
              <a:ext uri="{FF2B5EF4-FFF2-40B4-BE49-F238E27FC236}">
                <a16:creationId xmlns:a16="http://schemas.microsoft.com/office/drawing/2014/main" id="{13169012-26A7-4496-A023-7847400DAF7D}"/>
              </a:ext>
            </a:extLst>
          </p:cNvPr>
          <p:cNvSpPr/>
          <p:nvPr/>
        </p:nvSpPr>
        <p:spPr>
          <a:xfrm rot="5400000">
            <a:off x="739844" y="1615226"/>
            <a:ext cx="4748846" cy="3486149"/>
          </a:xfrm>
          <a:custGeom>
            <a:avLst/>
            <a:gdLst>
              <a:gd name="connsiteX0" fmla="*/ 0 w 6286500"/>
              <a:gd name="connsiteY0" fmla="*/ 4648200 h 4648200"/>
              <a:gd name="connsiteX1" fmla="*/ 0 w 6286500"/>
              <a:gd name="connsiteY1" fmla="*/ 0 h 4648200"/>
              <a:gd name="connsiteX2" fmla="*/ 6286500 w 6286500"/>
              <a:gd name="connsiteY2" fmla="*/ 0 h 4648200"/>
              <a:gd name="connsiteX3" fmla="*/ 6286500 w 6286500"/>
              <a:gd name="connsiteY3" fmla="*/ 4648200 h 4648200"/>
              <a:gd name="connsiteX4" fmla="*/ 0 w 6286500"/>
              <a:gd name="connsiteY4" fmla="*/ 4648200 h 4648200"/>
              <a:gd name="connsiteX0" fmla="*/ 0 w 6286500"/>
              <a:gd name="connsiteY0" fmla="*/ 4648200 h 4648200"/>
              <a:gd name="connsiteX1" fmla="*/ 0 w 6286500"/>
              <a:gd name="connsiteY1" fmla="*/ 0 h 4648200"/>
              <a:gd name="connsiteX2" fmla="*/ 6276875 w 6286500"/>
              <a:gd name="connsiteY2" fmla="*/ 2396690 h 4648200"/>
              <a:gd name="connsiteX3" fmla="*/ 6286500 w 6286500"/>
              <a:gd name="connsiteY3" fmla="*/ 4648200 h 4648200"/>
              <a:gd name="connsiteX4" fmla="*/ 0 w 6286500"/>
              <a:gd name="connsiteY4" fmla="*/ 4648200 h 4648200"/>
              <a:gd name="connsiteX0" fmla="*/ 28876 w 6315376"/>
              <a:gd name="connsiteY0" fmla="*/ 5158339 h 5158339"/>
              <a:gd name="connsiteX1" fmla="*/ 0 w 6315376"/>
              <a:gd name="connsiteY1" fmla="*/ 0 h 5158339"/>
              <a:gd name="connsiteX2" fmla="*/ 6305751 w 6315376"/>
              <a:gd name="connsiteY2" fmla="*/ 2906829 h 5158339"/>
              <a:gd name="connsiteX3" fmla="*/ 6315376 w 6315376"/>
              <a:gd name="connsiteY3" fmla="*/ 5158339 h 5158339"/>
              <a:gd name="connsiteX4" fmla="*/ 28876 w 6315376"/>
              <a:gd name="connsiteY4" fmla="*/ 5158339 h 5158339"/>
              <a:gd name="connsiteX0" fmla="*/ 28876 w 6315376"/>
              <a:gd name="connsiteY0" fmla="*/ 5158339 h 5158339"/>
              <a:gd name="connsiteX1" fmla="*/ 0 w 6315376"/>
              <a:gd name="connsiteY1" fmla="*/ 0 h 5158339"/>
              <a:gd name="connsiteX2" fmla="*/ 6296191 w 6315376"/>
              <a:gd name="connsiteY2" fmla="*/ 2146433 h 5158339"/>
              <a:gd name="connsiteX3" fmla="*/ 6315376 w 6315376"/>
              <a:gd name="connsiteY3" fmla="*/ 5158339 h 5158339"/>
              <a:gd name="connsiteX4" fmla="*/ 28876 w 6315376"/>
              <a:gd name="connsiteY4" fmla="*/ 5158339 h 5158339"/>
              <a:gd name="connsiteX0" fmla="*/ 38436 w 6324936"/>
              <a:gd name="connsiteY0" fmla="*/ 4532697 h 4532697"/>
              <a:gd name="connsiteX1" fmla="*/ 0 w 6324936"/>
              <a:gd name="connsiteY1" fmla="*/ 0 h 4532697"/>
              <a:gd name="connsiteX2" fmla="*/ 6305751 w 6324936"/>
              <a:gd name="connsiteY2" fmla="*/ 1520791 h 4532697"/>
              <a:gd name="connsiteX3" fmla="*/ 6324936 w 6324936"/>
              <a:gd name="connsiteY3" fmla="*/ 4532697 h 4532697"/>
              <a:gd name="connsiteX4" fmla="*/ 38436 w 6324936"/>
              <a:gd name="connsiteY4" fmla="*/ 4532697 h 4532697"/>
              <a:gd name="connsiteX0" fmla="*/ 38436 w 6324936"/>
              <a:gd name="connsiteY0" fmla="*/ 4532697 h 4532697"/>
              <a:gd name="connsiteX1" fmla="*/ 0 w 6324936"/>
              <a:gd name="connsiteY1" fmla="*/ 0 h 4532697"/>
              <a:gd name="connsiteX2" fmla="*/ 6305753 w 6324936"/>
              <a:gd name="connsiteY2" fmla="*/ 1520791 h 4532697"/>
              <a:gd name="connsiteX3" fmla="*/ 6324936 w 6324936"/>
              <a:gd name="connsiteY3" fmla="*/ 4532697 h 4532697"/>
              <a:gd name="connsiteX4" fmla="*/ 38436 w 6324936"/>
              <a:gd name="connsiteY4" fmla="*/ 4532697 h 4532697"/>
              <a:gd name="connsiteX0" fmla="*/ 19315 w 6305815"/>
              <a:gd name="connsiteY0" fmla="*/ 4532698 h 4532698"/>
              <a:gd name="connsiteX1" fmla="*/ 0 w 6305815"/>
              <a:gd name="connsiteY1" fmla="*/ 0 h 4532698"/>
              <a:gd name="connsiteX2" fmla="*/ 6286632 w 6305815"/>
              <a:gd name="connsiteY2" fmla="*/ 1520792 h 4532698"/>
              <a:gd name="connsiteX3" fmla="*/ 6305815 w 6305815"/>
              <a:gd name="connsiteY3" fmla="*/ 4532698 h 4532698"/>
              <a:gd name="connsiteX4" fmla="*/ 19315 w 6305815"/>
              <a:gd name="connsiteY4" fmla="*/ 4532698 h 4532698"/>
              <a:gd name="connsiteX0" fmla="*/ 866 w 6287366"/>
              <a:gd name="connsiteY0" fmla="*/ 4532698 h 4532698"/>
              <a:gd name="connsiteX1" fmla="*/ 19793 w 6287366"/>
              <a:gd name="connsiteY1" fmla="*/ 0 h 4532698"/>
              <a:gd name="connsiteX2" fmla="*/ 6268183 w 6287366"/>
              <a:gd name="connsiteY2" fmla="*/ 1520792 h 4532698"/>
              <a:gd name="connsiteX3" fmla="*/ 6287366 w 6287366"/>
              <a:gd name="connsiteY3" fmla="*/ 4532698 h 4532698"/>
              <a:gd name="connsiteX4" fmla="*/ 866 w 6287366"/>
              <a:gd name="connsiteY4" fmla="*/ 4532698 h 4532698"/>
              <a:gd name="connsiteX0" fmla="*/ 866 w 6287366"/>
              <a:gd name="connsiteY0" fmla="*/ 4532698 h 4532698"/>
              <a:gd name="connsiteX1" fmla="*/ 19793 w 6287366"/>
              <a:gd name="connsiteY1" fmla="*/ 0 h 4532698"/>
              <a:gd name="connsiteX2" fmla="*/ 6268183 w 6287366"/>
              <a:gd name="connsiteY2" fmla="*/ 1520792 h 4532698"/>
              <a:gd name="connsiteX3" fmla="*/ 6287366 w 6287366"/>
              <a:gd name="connsiteY3" fmla="*/ 4532698 h 4532698"/>
              <a:gd name="connsiteX4" fmla="*/ 866 w 6287366"/>
              <a:gd name="connsiteY4" fmla="*/ 4532698 h 4532698"/>
              <a:gd name="connsiteX0" fmla="*/ 1881 w 6288381"/>
              <a:gd name="connsiteY0" fmla="*/ 4523073 h 4523073"/>
              <a:gd name="connsiteX1" fmla="*/ 1686 w 6288381"/>
              <a:gd name="connsiteY1" fmla="*/ 0 h 4523073"/>
              <a:gd name="connsiteX2" fmla="*/ 6269198 w 6288381"/>
              <a:gd name="connsiteY2" fmla="*/ 1511167 h 4523073"/>
              <a:gd name="connsiteX3" fmla="*/ 6288381 w 6288381"/>
              <a:gd name="connsiteY3" fmla="*/ 4523073 h 4523073"/>
              <a:gd name="connsiteX4" fmla="*/ 1881 w 6288381"/>
              <a:gd name="connsiteY4" fmla="*/ 4523073 h 4523073"/>
              <a:gd name="connsiteX0" fmla="*/ 1881 w 6288381"/>
              <a:gd name="connsiteY0" fmla="*/ 4523073 h 4523073"/>
              <a:gd name="connsiteX1" fmla="*/ 1686 w 6288381"/>
              <a:gd name="connsiteY1" fmla="*/ 0 h 4523073"/>
              <a:gd name="connsiteX2" fmla="*/ 6278762 w 6288381"/>
              <a:gd name="connsiteY2" fmla="*/ 1511167 h 4523073"/>
              <a:gd name="connsiteX3" fmla="*/ 6288381 w 6288381"/>
              <a:gd name="connsiteY3" fmla="*/ 4523073 h 4523073"/>
              <a:gd name="connsiteX4" fmla="*/ 1881 w 6288381"/>
              <a:gd name="connsiteY4" fmla="*/ 4523073 h 4523073"/>
              <a:gd name="connsiteX0" fmla="*/ 1881 w 6289257"/>
              <a:gd name="connsiteY0" fmla="*/ 4523073 h 4523073"/>
              <a:gd name="connsiteX1" fmla="*/ 1686 w 6289257"/>
              <a:gd name="connsiteY1" fmla="*/ 0 h 4523073"/>
              <a:gd name="connsiteX2" fmla="*/ 6288325 w 6289257"/>
              <a:gd name="connsiteY2" fmla="*/ 1511167 h 4523073"/>
              <a:gd name="connsiteX3" fmla="*/ 6288381 w 6289257"/>
              <a:gd name="connsiteY3" fmla="*/ 4523073 h 4523073"/>
              <a:gd name="connsiteX4" fmla="*/ 1881 w 6289257"/>
              <a:gd name="connsiteY4" fmla="*/ 4523073 h 4523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89257" h="4523073">
                <a:moveTo>
                  <a:pt x="1881" y="4523073"/>
                </a:moveTo>
                <a:cubicBezTo>
                  <a:pt x="-4557" y="3012174"/>
                  <a:pt x="8124" y="1510899"/>
                  <a:pt x="1686" y="0"/>
                </a:cubicBezTo>
                <a:lnTo>
                  <a:pt x="6288325" y="1511167"/>
                </a:lnTo>
                <a:cubicBezTo>
                  <a:pt x="6291533" y="2261670"/>
                  <a:pt x="6285173" y="3772570"/>
                  <a:pt x="6288381" y="4523073"/>
                </a:cubicBezTo>
                <a:lnTo>
                  <a:pt x="1881" y="4523073"/>
                </a:lnTo>
                <a:close/>
              </a:path>
            </a:pathLst>
          </a:cu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prstClr val="white"/>
              </a:solidFill>
              <a:latin typeface="Calibri"/>
              <a:sym typeface="Arial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7B371D9-C69F-42A1-AF82-7F635F2540E5}"/>
              </a:ext>
            </a:extLst>
          </p:cNvPr>
          <p:cNvCxnSpPr/>
          <p:nvPr/>
        </p:nvCxnSpPr>
        <p:spPr>
          <a:xfrm>
            <a:off x="1589496" y="2078997"/>
            <a:ext cx="2674620" cy="0"/>
          </a:xfrm>
          <a:prstGeom prst="line">
            <a:avLst/>
          </a:prstGeom>
          <a:ln>
            <a:solidFill>
              <a:srgbClr val="004F71"/>
            </a:solidFill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55911FB-0539-4EDD-BF5E-E23273DB40A6}"/>
              </a:ext>
            </a:extLst>
          </p:cNvPr>
          <p:cNvSpPr txBox="1"/>
          <p:nvPr/>
        </p:nvSpPr>
        <p:spPr>
          <a:xfrm>
            <a:off x="971033" y="1395067"/>
            <a:ext cx="3911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daho Broadband</a:t>
            </a:r>
          </a:p>
          <a:p>
            <a:pPr algn="ctr" defTabSz="685800">
              <a:defRPr/>
            </a:pPr>
            <a:r>
              <a:rPr lang="en-US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dvisory Board Meeting</a:t>
            </a:r>
            <a:endParaRPr lang="en-US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F0E119-012D-4756-9B59-75F445AA2C63}"/>
              </a:ext>
            </a:extLst>
          </p:cNvPr>
          <p:cNvSpPr/>
          <p:nvPr/>
        </p:nvSpPr>
        <p:spPr>
          <a:xfrm>
            <a:off x="1527390" y="2243867"/>
            <a:ext cx="2736726" cy="1838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endParaRPr lang="en-US" sz="1350" b="1" dirty="0">
              <a:solidFill>
                <a:srgbClr val="00526A"/>
              </a:solidFill>
              <a:latin typeface="Times New Roman" panose="02020603050405020304" pitchFamily="18" charset="0"/>
              <a:ea typeface="Calibri" panose="020F0502020204030204" pitchFamily="34" charset="0"/>
              <a:cs typeface="Arial"/>
              <a:sym typeface="Arial"/>
            </a:endParaRPr>
          </a:p>
          <a:p>
            <a:pPr algn="ctr" defTabSz="685800">
              <a:defRPr/>
            </a:pPr>
            <a:r>
              <a:rPr lang="en-US" sz="1400" b="1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Ramón S. </a:t>
            </a:r>
            <a:r>
              <a:rPr lang="en-US" sz="1400" b="1" dirty="0" err="1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Hobdey</a:t>
            </a:r>
            <a:r>
              <a:rPr lang="en-US" sz="1400" b="1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-Sánchez</a:t>
            </a:r>
          </a:p>
          <a:p>
            <a:pPr algn="ctr" defTabSz="685800">
              <a:defRPr/>
            </a:pPr>
            <a:r>
              <a:rPr lang="en-US" sz="1400" b="1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Director</a:t>
            </a:r>
          </a:p>
          <a:p>
            <a:pPr algn="ctr" defTabSz="685800">
              <a:defRPr/>
            </a:pPr>
            <a:r>
              <a:rPr lang="en-US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daho Office of Broadband</a:t>
            </a:r>
          </a:p>
          <a:p>
            <a:pPr algn="ctr" defTabSz="685800">
              <a:defRPr/>
            </a:pPr>
            <a:endParaRPr lang="en-US" sz="1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algn="ctr" defTabSz="685800">
              <a:defRPr/>
            </a:pP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Wednesday, March 25, 2026</a:t>
            </a:r>
            <a:endParaRPr lang="en-US" sz="1400" dirty="0">
              <a:solidFill>
                <a:srgbClr val="7F7F7F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algn="ctr" defTabSz="685800">
              <a:defRPr/>
            </a:pPr>
            <a:endParaRPr lang="en-US" sz="15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algn="ctr" defTabSz="685800">
              <a:defRPr/>
            </a:pPr>
            <a:endParaRPr lang="en-US" sz="15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C13A6F-7366-4966-53FA-EC7E8C7E08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897593"/>
            <a:ext cx="1734927" cy="960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4379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>
          <a:extLst>
            <a:ext uri="{FF2B5EF4-FFF2-40B4-BE49-F238E27FC236}">
              <a16:creationId xmlns:a16="http://schemas.microsoft.com/office/drawing/2014/main" id="{3147FDE8-F57C-0316-6F9B-75D7B1688D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8D78F1DF-FCA9-2EC9-F539-61B56D40DA4C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948516"/>
            <a:ext cx="1691148" cy="90948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513F58F-CE58-15A7-983B-FDCC0DDEE095}"/>
              </a:ext>
            </a:extLst>
          </p:cNvPr>
          <p:cNvSpPr txBox="1"/>
          <p:nvPr/>
        </p:nvSpPr>
        <p:spPr>
          <a:xfrm>
            <a:off x="2297003" y="500331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US" sz="4800" b="1"/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4BCBFD40-C556-C9B2-3FDC-145BAC0C99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4625" y="1146662"/>
            <a:ext cx="6662268" cy="3662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en-US" alt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sufficient Verifiable Project Match:</a:t>
            </a: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e planned match contributions appear to be ineligible or obsolete, creating compliance and documentation risks and insufficiencies. </a:t>
            </a: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alt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nfinalized BSLs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Last‑mile locations yet to be formally confirmed</a:t>
            </a: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affects planning, reporting and eligibility.</a:t>
            </a:r>
            <a:b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eadership/Team Changes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Departure of key personnel caused loss of project knowledge and continuity. Leadership also impacted by election cycles.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en-US" altLang="en-US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7A065D-44F0-EDF1-8BAF-F80C34FBD083}"/>
              </a:ext>
            </a:extLst>
          </p:cNvPr>
          <p:cNvSpPr txBox="1"/>
          <p:nvPr/>
        </p:nvSpPr>
        <p:spPr>
          <a:xfrm>
            <a:off x="0" y="300278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3200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roject Risk Assessment Items</a:t>
            </a:r>
          </a:p>
        </p:txBody>
      </p:sp>
    </p:spTree>
    <p:extLst>
      <p:ext uri="{BB962C8B-B14F-4D97-AF65-F5344CB8AC3E}">
        <p14:creationId xmlns:p14="http://schemas.microsoft.com/office/powerpoint/2010/main" val="916729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>
          <a:extLst>
            <a:ext uri="{FF2B5EF4-FFF2-40B4-BE49-F238E27FC236}">
              <a16:creationId xmlns:a16="http://schemas.microsoft.com/office/drawing/2014/main" id="{DC0297CE-2A51-E0ED-046F-591713FC3F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539C20D7-7F2C-B620-6D85-8EE2B1804CCC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919019"/>
            <a:ext cx="1671484" cy="93898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3134838-1961-56FB-5252-1701730B0B80}"/>
              </a:ext>
            </a:extLst>
          </p:cNvPr>
          <p:cNvSpPr txBox="1"/>
          <p:nvPr/>
        </p:nvSpPr>
        <p:spPr>
          <a:xfrm>
            <a:off x="2297003" y="500331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US" sz="4800" b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D5FE78-8EA7-3F3A-9F73-868CC2082580}"/>
              </a:ext>
            </a:extLst>
          </p:cNvPr>
          <p:cNvSpPr txBox="1"/>
          <p:nvPr/>
        </p:nvSpPr>
        <p:spPr>
          <a:xfrm>
            <a:off x="108551" y="207943"/>
            <a:ext cx="90354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Risk Assessment Summa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CD36FC-D0B4-B53B-27CB-A10E7CD812EF}"/>
              </a:ext>
            </a:extLst>
          </p:cNvPr>
          <p:cNvSpPr txBox="1"/>
          <p:nvPr/>
        </p:nvSpPr>
        <p:spPr>
          <a:xfrm>
            <a:off x="646981" y="1500996"/>
            <a:ext cx="110799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2"/>
            <a:endParaRPr lang="en-US"/>
          </a:p>
          <a:p>
            <a:pPr lvl="1"/>
            <a:endParaRPr lang="en-US" i="1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 i="1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  <a:p>
            <a:endParaRPr lang="en-US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D3994008-1AC5-25CC-FC53-FB28161381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400" y="1177832"/>
            <a:ext cx="8264634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isk Item: In‑Kind Match Dependent on REPEATER SIT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grant proposal included ~$1.6M in in‑kind match for County‑funded repeater site upgrades to the public safety Simulcast System on existing towers.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proposal also assumed that CPF funds would connect these towers to fiber, keeping the in‑kind match aligned with federal requirements and the project as a whole.</a:t>
            </a:r>
            <a:b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atah later changed the network design and removed fiber routes to the towers, which eliminated the connection pathway needed to support the original in‑kind match commitment.</a:t>
            </a:r>
            <a:b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Text&#10;&#10;AI-generated content may be incorrect.">
            <a:extLst>
              <a:ext uri="{FF2B5EF4-FFF2-40B4-BE49-F238E27FC236}">
                <a16:creationId xmlns:a16="http://schemas.microsoft.com/office/drawing/2014/main" id="{BB9FFE80-3DC4-85DC-C0AD-EC226C555E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2644" y="5614229"/>
            <a:ext cx="6133823" cy="1016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8200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>
          <a:extLst>
            <a:ext uri="{FF2B5EF4-FFF2-40B4-BE49-F238E27FC236}">
              <a16:creationId xmlns:a16="http://schemas.microsoft.com/office/drawing/2014/main" id="{DB663745-D288-8801-B65D-0AE150502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419DE227-6EFB-1B5D-7921-71EDE677C7BE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886817"/>
            <a:ext cx="1754977" cy="97118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10540BD-ACA1-D55E-F20F-95A245487B1C}"/>
              </a:ext>
            </a:extLst>
          </p:cNvPr>
          <p:cNvSpPr txBox="1"/>
          <p:nvPr/>
        </p:nvSpPr>
        <p:spPr>
          <a:xfrm>
            <a:off x="2297003" y="500331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US" sz="4800" b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6533D6-C1FA-21DC-7EA4-BEB99ADAFD7B}"/>
              </a:ext>
            </a:extLst>
          </p:cNvPr>
          <p:cNvSpPr txBox="1"/>
          <p:nvPr/>
        </p:nvSpPr>
        <p:spPr>
          <a:xfrm>
            <a:off x="108551" y="207943"/>
            <a:ext cx="90354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Risk Assessment Summa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6F7B3D-7EC6-23FD-D53D-99B3010F8309}"/>
              </a:ext>
            </a:extLst>
          </p:cNvPr>
          <p:cNvSpPr txBox="1"/>
          <p:nvPr/>
        </p:nvSpPr>
        <p:spPr>
          <a:xfrm>
            <a:off x="646981" y="1500996"/>
            <a:ext cx="110799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2"/>
            <a:endParaRPr lang="en-US"/>
          </a:p>
          <a:p>
            <a:pPr lvl="1"/>
            <a:endParaRPr lang="en-US" i="1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 i="1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  <a:p>
            <a:endParaRPr lang="en-US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3D0CAD7D-027E-F1A2-C41C-F72538DD68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567" y="915829"/>
            <a:ext cx="7786452" cy="4524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isk Item: Insufficient Verifiable Project Matc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peater sites, as presented and submitted, as in-kind project match deemed ineligible for </a:t>
            </a:r>
            <a:r>
              <a:rPr lang="en-US" alt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PF</a:t>
            </a: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under 2 CFR 200 and additional Federal </a:t>
            </a:r>
            <a:r>
              <a:rPr lang="en-US" alt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PF</a:t>
            </a: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uidelines and requirements.  Must be </a:t>
            </a:r>
            <a:r>
              <a:rPr lang="en-US" alt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necessary and reasonable for achieving the objectives of the Federal award…”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sufficient match documentation submitted when requested, also short on cash match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posed substitute in-kind match (</a:t>
            </a:r>
            <a:r>
              <a:rPr lang="en-US" alt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IG</a:t>
            </a: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nvolvement) has no documentation, ownership structure is unclear, and may fall outside the scope of the project location.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altLang="en-US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sed on the above, the planned match contributions became ineligible or obsolete, creating compliance and documentation risks.</a:t>
            </a:r>
          </a:p>
        </p:txBody>
      </p:sp>
    </p:spTree>
    <p:extLst>
      <p:ext uri="{BB962C8B-B14F-4D97-AF65-F5344CB8AC3E}">
        <p14:creationId xmlns:p14="http://schemas.microsoft.com/office/powerpoint/2010/main" val="6658416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>
          <a:extLst>
            <a:ext uri="{FF2B5EF4-FFF2-40B4-BE49-F238E27FC236}">
              <a16:creationId xmlns:a16="http://schemas.microsoft.com/office/drawing/2014/main" id="{DC74B606-C283-A5E2-5C9C-864CD5E615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F6C96CCF-1D8A-4F8D-4115-C0AE004E1133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007510"/>
            <a:ext cx="1661652" cy="85049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887A07E-78A7-65D4-0C4E-1390923E6015}"/>
              </a:ext>
            </a:extLst>
          </p:cNvPr>
          <p:cNvSpPr txBox="1"/>
          <p:nvPr/>
        </p:nvSpPr>
        <p:spPr>
          <a:xfrm>
            <a:off x="2297003" y="500331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US" sz="4800" b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B0BD065-EE45-3768-3E9A-B7D7B4D4AB16}"/>
              </a:ext>
            </a:extLst>
          </p:cNvPr>
          <p:cNvSpPr txBox="1"/>
          <p:nvPr/>
        </p:nvSpPr>
        <p:spPr>
          <a:xfrm>
            <a:off x="108551" y="207943"/>
            <a:ext cx="90354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Risk Assessment Summa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E9E196F-D5CD-F3F7-6D43-88BE289F3C47}"/>
              </a:ext>
            </a:extLst>
          </p:cNvPr>
          <p:cNvSpPr txBox="1"/>
          <p:nvPr/>
        </p:nvSpPr>
        <p:spPr>
          <a:xfrm>
            <a:off x="646981" y="1500996"/>
            <a:ext cx="110799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2"/>
            <a:endParaRPr lang="en-US" dirty="0"/>
          </a:p>
          <a:p>
            <a:pPr lvl="1"/>
            <a:endParaRPr lang="en-US" i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 i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245AC5F7-F2A1-87BF-5D46-7886C2DE8D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049" y="959867"/>
            <a:ext cx="778645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isk Item: Insufficient Verifiable Project Matc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66781D-C05F-2E01-FFA7-AA5871B421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4316" y="1742569"/>
            <a:ext cx="6645216" cy="314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6642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>
          <a:extLst>
            <a:ext uri="{FF2B5EF4-FFF2-40B4-BE49-F238E27FC236}">
              <a16:creationId xmlns:a16="http://schemas.microsoft.com/office/drawing/2014/main" id="{9D0FEA8E-5526-8810-1540-9A591F1C0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5790647A-9A65-FF6C-FC8B-CCEC5D089371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025311"/>
            <a:ext cx="1592826" cy="8326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97CD553-276A-D485-48B9-F9C3678F3471}"/>
              </a:ext>
            </a:extLst>
          </p:cNvPr>
          <p:cNvSpPr txBox="1"/>
          <p:nvPr/>
        </p:nvSpPr>
        <p:spPr>
          <a:xfrm>
            <a:off x="2297003" y="500331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US" sz="4800" b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1A426F-8E82-C758-3472-F53450DCC276}"/>
              </a:ext>
            </a:extLst>
          </p:cNvPr>
          <p:cNvSpPr txBox="1"/>
          <p:nvPr/>
        </p:nvSpPr>
        <p:spPr>
          <a:xfrm>
            <a:off x="108551" y="207943"/>
            <a:ext cx="90354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itical Consider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D389B4B-BAC3-90FA-9184-95E5492A5E6B}"/>
              </a:ext>
            </a:extLst>
          </p:cNvPr>
          <p:cNvSpPr txBox="1"/>
          <p:nvPr/>
        </p:nvSpPr>
        <p:spPr>
          <a:xfrm>
            <a:off x="646981" y="1500996"/>
            <a:ext cx="110799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2"/>
            <a:endParaRPr lang="en-US" dirty="0"/>
          </a:p>
          <a:p>
            <a:pPr lvl="1"/>
            <a:endParaRPr lang="en-US" i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 i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09F2E252-F547-8B5F-F284-39FA8983F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683" y="1054334"/>
            <a:ext cx="8264634" cy="4524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es the Board believe the project is still able to meet the core grant requirements (BSLs, match eligibility, timelines) if continued, or has compliance risk become too much to overcome?</a:t>
            </a:r>
            <a:b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hould the subgrantee be given an additional opportunity to remediate the identified issues, and if so, under what expectations?  What result would be satisfactory?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f the project continues, what specific conditions, safeguards, or risk thresholds must be met? 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s project has already been under a ‘corrective action’ plan since June  2024.</a:t>
            </a:r>
            <a:b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es the Board want to waive any of the 25% match commitment?</a:t>
            </a:r>
            <a:b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es the Board want to impose new project requirements that will ensure its successful completion?</a:t>
            </a:r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8586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" name="Google Shape;1121;p9"/>
          <p:cNvSpPr/>
          <p:nvPr/>
        </p:nvSpPr>
        <p:spPr>
          <a:xfrm>
            <a:off x="-44193" y="0"/>
            <a:ext cx="3879625" cy="6172306"/>
          </a:xfrm>
          <a:prstGeom prst="rect">
            <a:avLst/>
          </a:prstGeom>
          <a:solidFill>
            <a:schemeClr val="dk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685800">
              <a:buClr>
                <a:srgbClr val="000000"/>
              </a:buClr>
            </a:pPr>
            <a:endParaRPr sz="135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2" name="Google Shape;1122;p9" descr="A grassy hill with trees on it&#10;&#10;Description automatically generated with low confidence"/>
          <p:cNvPicPr preferRelativeResize="0"/>
          <p:nvPr/>
        </p:nvPicPr>
        <p:blipFill rotWithShape="1">
          <a:blip r:embed="rId3">
            <a:alphaModFix amt="82000"/>
          </a:blip>
          <a:srcRect l="1324" r="56949"/>
          <a:stretch/>
        </p:blipFill>
        <p:spPr>
          <a:xfrm>
            <a:off x="-44193" y="0"/>
            <a:ext cx="387962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23" name="Google Shape;1123;p9"/>
          <p:cNvSpPr txBox="1"/>
          <p:nvPr/>
        </p:nvSpPr>
        <p:spPr>
          <a:xfrm>
            <a:off x="4234603" y="2709710"/>
            <a:ext cx="4603109" cy="3393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ctr" defTabSz="685800">
              <a:lnSpc>
                <a:spcPct val="150000"/>
              </a:lnSpc>
              <a:buClr>
                <a:srgbClr val="000000"/>
              </a:buClr>
            </a:pPr>
            <a:r>
              <a:rPr lang="en-US" kern="0" dirty="0"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Up.Idaho.gov</a:t>
            </a:r>
            <a:endParaRPr lang="en-US" kern="0" dirty="0"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  <a:p>
            <a:pPr algn="ctr" defTabSz="685800">
              <a:lnSpc>
                <a:spcPct val="150000"/>
              </a:lnSpc>
              <a:buClr>
                <a:srgbClr val="000000"/>
              </a:buClr>
            </a:pPr>
            <a: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Ramón S. </a:t>
            </a:r>
            <a:r>
              <a:rPr lang="en-US" kern="0" dirty="0" err="1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Hobdey</a:t>
            </a:r>
            <a: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-Sánchez</a:t>
            </a:r>
            <a:b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</a:br>
            <a: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Director</a:t>
            </a:r>
            <a:endParaRPr kern="0" dirty="0"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algn="ctr" defTabSz="685800">
              <a:lnSpc>
                <a:spcPct val="150000"/>
              </a:lnSpc>
              <a:buClr>
                <a:srgbClr val="000000"/>
              </a:buClr>
            </a:pPr>
            <a: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Idaho Office of Broadband</a:t>
            </a:r>
            <a:b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</a:br>
            <a: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Idaho Department of Commerce</a:t>
            </a:r>
            <a:b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</a:br>
            <a: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Office: 208.287.3153</a:t>
            </a:r>
            <a:b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</a:br>
            <a: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ramon.hobdey-sanchez@commerce.idaho.gov </a:t>
            </a:r>
            <a:br>
              <a:rPr lang="en-US" kern="0" dirty="0"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</a:br>
            <a:endParaRPr kern="0" dirty="0"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grpSp>
        <p:nvGrpSpPr>
          <p:cNvPr id="1124" name="Google Shape;1124;p9"/>
          <p:cNvGrpSpPr/>
          <p:nvPr/>
        </p:nvGrpSpPr>
        <p:grpSpPr>
          <a:xfrm>
            <a:off x="471669" y="1868281"/>
            <a:ext cx="3316986" cy="2834688"/>
            <a:chOff x="5486400" y="727288"/>
            <a:chExt cx="4422648" cy="3779584"/>
          </a:xfrm>
        </p:grpSpPr>
        <p:pic>
          <p:nvPicPr>
            <p:cNvPr id="1125" name="Google Shape;1125;p9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524640" y="3742492"/>
              <a:ext cx="640080" cy="64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  <p:sp>
          <p:nvSpPr>
            <p:cNvPr id="1126" name="Google Shape;1126;p9"/>
            <p:cNvSpPr/>
            <p:nvPr/>
          </p:nvSpPr>
          <p:spPr>
            <a:xfrm>
              <a:off x="6223549" y="731520"/>
              <a:ext cx="3685499" cy="37753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 defTabSz="685800">
                <a:buClr>
                  <a:srgbClr val="000000"/>
                </a:buClr>
              </a:pPr>
              <a:r>
                <a:rPr lang="en-US" sz="1350" kern="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commerce.idaho.gov commerce.idaho.gov/broadband </a:t>
              </a:r>
              <a:endParaRPr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defTabSz="685800">
                <a:spcBef>
                  <a:spcPts val="3150"/>
                </a:spcBef>
                <a:buClr>
                  <a:srgbClr val="000000"/>
                </a:buClr>
              </a:pPr>
              <a:r>
                <a:rPr lang="en-US" sz="1350" kern="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daho Commerce </a:t>
              </a:r>
              <a:br>
                <a:rPr lang="en-US" sz="1350" kern="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</a:br>
              <a:endParaRPr sz="135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defTabSz="685800">
                <a:spcBef>
                  <a:spcPts val="3150"/>
                </a:spcBef>
                <a:buClr>
                  <a:srgbClr val="000000"/>
                </a:buClr>
              </a:pPr>
              <a:r>
                <a:rPr lang="en-US" sz="1350" kern="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@idahocommerce</a:t>
              </a:r>
              <a:endParaRPr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defTabSz="685800">
                <a:spcBef>
                  <a:spcPts val="1875"/>
                </a:spcBef>
                <a:buClr>
                  <a:srgbClr val="000000"/>
                </a:buClr>
              </a:pPr>
              <a:endParaRPr sz="135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defTabSz="685800">
                <a:spcBef>
                  <a:spcPts val="1875"/>
                </a:spcBef>
                <a:buClr>
                  <a:srgbClr val="000000"/>
                </a:buClr>
              </a:pPr>
              <a:r>
                <a:rPr lang="en-US" sz="1350" kern="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daho Commerce</a:t>
              </a:r>
              <a:endParaRPr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1127" name="Google Shape;1127;p9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524640" y="727288"/>
              <a:ext cx="640080" cy="64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  <p:pic>
          <p:nvPicPr>
            <p:cNvPr id="1128" name="Google Shape;1128;p9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5486400" y="1717606"/>
              <a:ext cx="716561" cy="7165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  <p:pic>
          <p:nvPicPr>
            <p:cNvPr id="1129" name="Google Shape;1129;p9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5524640" y="2857592"/>
              <a:ext cx="640080" cy="64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1130" name="Google Shape;1130;p9"/>
          <p:cNvSpPr txBox="1"/>
          <p:nvPr/>
        </p:nvSpPr>
        <p:spPr>
          <a:xfrm>
            <a:off x="4572000" y="1645315"/>
            <a:ext cx="4169315" cy="8078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ctr" defTabSz="685800">
              <a:buClr>
                <a:srgbClr val="000000"/>
              </a:buClr>
            </a:pPr>
            <a:r>
              <a:rPr lang="en-US" sz="2400" kern="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rPr>
              <a:t>QUESTIONS? </a:t>
            </a:r>
            <a:endParaRPr sz="105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 defTabSz="685800">
              <a:buClr>
                <a:srgbClr val="000000"/>
              </a:buClr>
            </a:pPr>
            <a:r>
              <a:rPr lang="en-US" sz="2400" kern="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rPr>
              <a:t>CONTACT US</a:t>
            </a:r>
            <a:endParaRPr sz="105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1131" name="Google Shape;1131;p9"/>
          <p:cNvCxnSpPr/>
          <p:nvPr/>
        </p:nvCxnSpPr>
        <p:spPr>
          <a:xfrm>
            <a:off x="5554482" y="2537981"/>
            <a:ext cx="2167128" cy="0"/>
          </a:xfrm>
          <a:prstGeom prst="straightConnector1">
            <a:avLst/>
          </a:prstGeom>
          <a:noFill/>
          <a:ln w="47625" cap="flat" cmpd="sng">
            <a:solidFill>
              <a:srgbClr val="004F7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32" name="Google Shape;1132;p9" descr="A blue rectangle with white text&#10;&#10;Description automatically generated with medium confidence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44195" y="5987845"/>
            <a:ext cx="1587860" cy="8701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B711D-2022-AD33-A469-9644A43E40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36973"/>
            <a:ext cx="7772400" cy="1470025"/>
          </a:xfrm>
        </p:spPr>
        <p:txBody>
          <a:bodyPr>
            <a:normAutofit/>
          </a:bodyPr>
          <a:lstStyle/>
          <a:p>
            <a:r>
              <a:rPr lang="en-US" sz="36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Agend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B23493-CD4E-1D9E-8664-0E5405D851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2146" y="1706998"/>
            <a:ext cx="6400800" cy="1752600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AD Program Update</a:t>
            </a:r>
          </a:p>
          <a:p>
            <a:pPr algn="l"/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PF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rogram: Latah County Projec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3DDA77-C5A7-8DF7-EBC9-2B6B63546C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5793739"/>
            <a:ext cx="1936955" cy="106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924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056FD3-9452-A293-261F-C317EAE0F4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18501"/>
            <a:ext cx="7772400" cy="1000700"/>
          </a:xfrm>
        </p:spPr>
        <p:txBody>
          <a:bodyPr/>
          <a:lstStyle/>
          <a:p>
            <a:r>
              <a:rPr lang="en-US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AD Progra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D85742-2AF5-FFFE-49F0-9DD2340C7F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45050" y="1107544"/>
            <a:ext cx="6400800" cy="4481946"/>
          </a:xfrm>
        </p:spPr>
        <p:txBody>
          <a:bodyPr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IST Approval: 1.26.26</a:t>
            </a:r>
          </a:p>
          <a:p>
            <a:pPr algn="l"/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active BEAD Award Dashboard</a:t>
            </a:r>
          </a:p>
          <a:p>
            <a:pPr algn="l"/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rtners/Consultants (MBI and BMC) </a:t>
            </a:r>
          </a:p>
          <a:p>
            <a:pPr algn="l"/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AD Subgrantee Kickoff: 3.24.26</a:t>
            </a:r>
          </a:p>
          <a:p>
            <a:pPr algn="l"/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Building project agreements</a:t>
            </a:r>
          </a:p>
          <a:p>
            <a:pPr algn="l"/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Environmental work/permitting</a:t>
            </a:r>
          </a:p>
          <a:p>
            <a:pPr algn="l"/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AD Subgrantee Agreements </a:t>
            </a:r>
            <a:r>
              <a:rPr lang="en-US" sz="20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ted by July</a:t>
            </a:r>
          </a:p>
          <a:p>
            <a:pPr algn="l"/>
            <a:endParaRPr lang="en-US" sz="2000" b="1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gram Focus = Administration, Compliance and 		    		     Project Manage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78BA2F-68D8-32A3-98AF-6A4B61E993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6069257"/>
            <a:ext cx="1435511" cy="788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09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>
          <a:extLst>
            <a:ext uri="{FF2B5EF4-FFF2-40B4-BE49-F238E27FC236}">
              <a16:creationId xmlns:a16="http://schemas.microsoft.com/office/drawing/2014/main" id="{D5F04A0B-B32B-304F-4ED3-0FC9B52B0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0EAC59E8-F28B-794C-7E09-DE9430F33180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860026"/>
            <a:ext cx="1700981" cy="99797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23DD333-C17F-0362-A307-15B8FDAD8AAE}"/>
              </a:ext>
            </a:extLst>
          </p:cNvPr>
          <p:cNvSpPr txBox="1"/>
          <p:nvPr/>
        </p:nvSpPr>
        <p:spPr>
          <a:xfrm>
            <a:off x="2677377" y="238699"/>
            <a:ext cx="36013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CPF: Latah Count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165AB74-9427-85E4-F63C-8AAB86271C9E}"/>
              </a:ext>
            </a:extLst>
          </p:cNvPr>
          <p:cNvGrpSpPr/>
          <p:nvPr/>
        </p:nvGrpSpPr>
        <p:grpSpPr>
          <a:xfrm>
            <a:off x="2440305" y="1012646"/>
            <a:ext cx="4263390" cy="5692954"/>
            <a:chOff x="2346359" y="1003121"/>
            <a:chExt cx="4263390" cy="569295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91B4D8C-AE5E-FC1B-1238-269AC41CF1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6359" y="1003121"/>
              <a:ext cx="4263390" cy="5692954"/>
            </a:xfrm>
            <a:prstGeom prst="rect">
              <a:avLst/>
            </a:prstGeom>
          </p:spPr>
        </p:pic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67A517A-966A-AF4F-471F-CC1CABF6B7BB}"/>
                </a:ext>
              </a:extLst>
            </p:cNvPr>
            <p:cNvSpPr/>
            <p:nvPr/>
          </p:nvSpPr>
          <p:spPr>
            <a:xfrm>
              <a:off x="3181350" y="2895600"/>
              <a:ext cx="695325" cy="438150"/>
            </a:xfrm>
            <a:prstGeom prst="ellipse">
              <a:avLst/>
            </a:prstGeom>
            <a:noFill/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5038714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D304C38-E7CA-317C-CF0B-8542A1B42F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685" y="919401"/>
            <a:ext cx="7364630" cy="56908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453D3DF-2717-9533-6BB5-893F308720AE}"/>
              </a:ext>
            </a:extLst>
          </p:cNvPr>
          <p:cNvSpPr txBox="1"/>
          <p:nvPr/>
        </p:nvSpPr>
        <p:spPr>
          <a:xfrm>
            <a:off x="2490107" y="264370"/>
            <a:ext cx="4572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tah County </a:t>
            </a:r>
            <a:r>
              <a:rPr lang="en-US" sz="32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PF</a:t>
            </a:r>
            <a:r>
              <a:rPr lang="en-US" sz="32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SLs</a:t>
            </a:r>
            <a:endParaRPr lang="en-US" sz="3200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A91D047-C346-9FA2-1F07-2C7F797F24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6134655"/>
            <a:ext cx="1317523" cy="723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491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919019"/>
            <a:ext cx="1750142" cy="93898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1F28398-628A-28F5-A5C3-494E15131A43}"/>
              </a:ext>
            </a:extLst>
          </p:cNvPr>
          <p:cNvSpPr txBox="1"/>
          <p:nvPr/>
        </p:nvSpPr>
        <p:spPr>
          <a:xfrm>
            <a:off x="777241" y="353938"/>
            <a:ext cx="7236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tah Proposal/Application &amp; Award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45A2206-796D-75F2-6025-55F327E4BFCE}"/>
              </a:ext>
            </a:extLst>
          </p:cNvPr>
          <p:cNvSpPr txBox="1"/>
          <p:nvPr/>
        </p:nvSpPr>
        <p:spPr>
          <a:xfrm>
            <a:off x="464613" y="1576557"/>
            <a:ext cx="29688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PF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rant Request: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E5A5B0-92BD-99A3-114D-9782C4B033E1}"/>
              </a:ext>
            </a:extLst>
          </p:cNvPr>
          <p:cNvSpPr txBox="1"/>
          <p:nvPr/>
        </p:nvSpPr>
        <p:spPr>
          <a:xfrm>
            <a:off x="353961" y="5050610"/>
            <a:ext cx="3624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BAB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ward: $15,000,000 </a:t>
            </a:r>
          </a:p>
        </p:txBody>
      </p:sp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D22AB8-15C4-9323-2042-987023D531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5349" y="1168383"/>
            <a:ext cx="2748973" cy="3591001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90230314-78AF-212E-7752-FBEB4FFE7E94}"/>
              </a:ext>
            </a:extLst>
          </p:cNvPr>
          <p:cNvCxnSpPr>
            <a:cxnSpLocks/>
          </p:cNvCxnSpPr>
          <p:nvPr/>
        </p:nvCxnSpPr>
        <p:spPr>
          <a:xfrm flipH="1">
            <a:off x="5169544" y="961681"/>
            <a:ext cx="1563624" cy="53035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B93548D-EF97-B0F5-1C17-9DCDDEE535A3}"/>
              </a:ext>
            </a:extLst>
          </p:cNvPr>
          <p:cNvCxnSpPr>
            <a:cxnSpLocks/>
          </p:cNvCxnSpPr>
          <p:nvPr/>
        </p:nvCxnSpPr>
        <p:spPr>
          <a:xfrm flipH="1">
            <a:off x="5243138" y="2817297"/>
            <a:ext cx="1563624" cy="53035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>
          <a:extLst>
            <a:ext uri="{FF2B5EF4-FFF2-40B4-BE49-F238E27FC236}">
              <a16:creationId xmlns:a16="http://schemas.microsoft.com/office/drawing/2014/main" id="{D1E2ACB5-C416-7B05-77D0-5C5218FA92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20F386AE-D51F-1BC8-DB28-A0340BE54FDC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860026"/>
            <a:ext cx="1877961" cy="9979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34CFD3-A81E-F099-7D41-A5CAF8A4CAD5}"/>
              </a:ext>
            </a:extLst>
          </p:cNvPr>
          <p:cNvSpPr txBox="1"/>
          <p:nvPr/>
        </p:nvSpPr>
        <p:spPr>
          <a:xfrm>
            <a:off x="0" y="300278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3200" b="1" i="0" u="sng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urrent Project Sta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5D9CB9-C5F5-B60E-4375-DBA12EFEC5D6}"/>
              </a:ext>
            </a:extLst>
          </p:cNvPr>
          <p:cNvSpPr txBox="1"/>
          <p:nvPr/>
        </p:nvSpPr>
        <p:spPr>
          <a:xfrm>
            <a:off x="877823" y="822281"/>
            <a:ext cx="5801588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1" dirty="0"/>
          </a:p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Grant Amount Awarded: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$15,000,000.00</a:t>
            </a:r>
          </a:p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tch Commitmen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$3,750,000.00 (25%)</a:t>
            </a:r>
          </a:p>
          <a:p>
            <a:r>
              <a:rPr lang="en-US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SL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mmitment: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,155</a:t>
            </a:r>
          </a:p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Grant Amount Award per </a:t>
            </a:r>
            <a:r>
              <a:rPr lang="en-US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SL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$12,987.01</a:t>
            </a:r>
          </a:p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unds Paid to Date After Reconciliation: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$185,353.50</a:t>
            </a:r>
          </a:p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unds Requested Pending Suspension Lift: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$1,054,657.68</a:t>
            </a:r>
          </a:p>
          <a:p>
            <a:endParaRPr lang="en-US" dirty="0"/>
          </a:p>
        </p:txBody>
      </p:sp>
      <p:pic>
        <p:nvPicPr>
          <p:cNvPr id="1025" name="Picture 2">
            <a:extLst>
              <a:ext uri="{FF2B5EF4-FFF2-40B4-BE49-F238E27FC236}">
                <a16:creationId xmlns:a16="http://schemas.microsoft.com/office/drawing/2014/main" id="{5490DF4E-E906-9AFA-E5C9-29F93095DB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7037" y="2945791"/>
            <a:ext cx="3869926" cy="3611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19918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>
          <a:extLst>
            <a:ext uri="{FF2B5EF4-FFF2-40B4-BE49-F238E27FC236}">
              <a16:creationId xmlns:a16="http://schemas.microsoft.com/office/drawing/2014/main" id="{EBBA90D9-5C11-DECC-6F25-BCEC64362C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1D5FE2D0-1DC5-06DD-B94E-0EAA2FB96105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840361"/>
            <a:ext cx="1769806" cy="1017639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9573AC2-2601-46A8-5B81-C32BEE5E44B3}"/>
              </a:ext>
            </a:extLst>
          </p:cNvPr>
          <p:cNvSpPr txBox="1"/>
          <p:nvPr/>
        </p:nvSpPr>
        <p:spPr>
          <a:xfrm>
            <a:off x="0" y="300278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3200" b="1" i="0" u="sng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urrent Project Status - Suspend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3F2B6F-9432-31A2-6387-F1610C79E552}"/>
              </a:ext>
            </a:extLst>
          </p:cNvPr>
          <p:cNvSpPr txBox="1"/>
          <p:nvPr/>
        </p:nvSpPr>
        <p:spPr>
          <a:xfrm>
            <a:off x="877823" y="822281"/>
            <a:ext cx="5293822" cy="46474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1" dirty="0"/>
          </a:p>
          <a:p>
            <a:r>
              <a:rPr lang="en-US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26</a:t>
            </a:r>
            <a:br>
              <a:rPr lang="en-US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000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January 21</a:t>
            </a:r>
            <a:r>
              <a:rPr lang="en-US" sz="2000" b="1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Project suspended</a:t>
            </a:r>
          </a:p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         Given 30-day cure notice</a:t>
            </a:r>
            <a:b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bruary 20</a:t>
            </a:r>
            <a:r>
              <a:rPr lang="en-US" sz="2000" b="1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Cure due and submitted</a:t>
            </a:r>
          </a:p>
          <a:p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rch 3</a:t>
            </a:r>
            <a:r>
              <a:rPr lang="en-US" sz="2000" b="1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d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Notice of review and </a:t>
            </a:r>
            <a:r>
              <a:rPr lang="en-US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BAB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eeting</a:t>
            </a:r>
          </a:p>
          <a:p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rch 25</a:t>
            </a:r>
            <a:r>
              <a:rPr lang="en-US" sz="2000" b="1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BAB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eeting</a:t>
            </a:r>
          </a:p>
          <a:p>
            <a:r>
              <a:rPr lang="en-US" b="1" dirty="0"/>
              <a:t>	 </a:t>
            </a:r>
          </a:p>
        </p:txBody>
      </p:sp>
    </p:spTree>
    <p:extLst>
      <p:ext uri="{BB962C8B-B14F-4D97-AF65-F5344CB8AC3E}">
        <p14:creationId xmlns:p14="http://schemas.microsoft.com/office/powerpoint/2010/main" val="3497088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>
          <a:extLst>
            <a:ext uri="{FF2B5EF4-FFF2-40B4-BE49-F238E27FC236}">
              <a16:creationId xmlns:a16="http://schemas.microsoft.com/office/drawing/2014/main" id="{5FA91598-6021-1CD4-A11B-54DB5F2169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2" name="Google Shape;1092;p6" descr="A blue rectang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AB8AD5D9-E078-492E-C524-AF9044B5D3D0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942171"/>
            <a:ext cx="1681316" cy="91582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FA36BA-D1EC-4F9A-84FB-0767190B4654}"/>
              </a:ext>
            </a:extLst>
          </p:cNvPr>
          <p:cNvSpPr txBox="1"/>
          <p:nvPr/>
        </p:nvSpPr>
        <p:spPr>
          <a:xfrm>
            <a:off x="2297003" y="500331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US" sz="4800" b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E83B4D-B7B2-C0D4-5351-7407D1FC9418}"/>
              </a:ext>
            </a:extLst>
          </p:cNvPr>
          <p:cNvSpPr txBox="1"/>
          <p:nvPr/>
        </p:nvSpPr>
        <p:spPr>
          <a:xfrm>
            <a:off x="108551" y="207943"/>
            <a:ext cx="90354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ring Ques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1809C8-15C6-965E-B167-E66C3A0D0E1C}"/>
              </a:ext>
            </a:extLst>
          </p:cNvPr>
          <p:cNvSpPr txBox="1"/>
          <p:nvPr/>
        </p:nvSpPr>
        <p:spPr>
          <a:xfrm>
            <a:off x="889908" y="915829"/>
            <a:ext cx="721900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1) “…</a:t>
            </a:r>
            <a:r>
              <a:rPr lang="en-US" sz="20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ject does not demonstrate sufficient financial capacity to meet the required project match obligation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…”</a:t>
            </a:r>
          </a:p>
          <a:p>
            <a:pPr lvl="0"/>
            <a:b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2) “…</a:t>
            </a:r>
            <a:r>
              <a:rPr lang="en-US" sz="20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-kind match commitment currently includes approximately $1.6M for repeater sites within the County’s public safety communications system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…”</a:t>
            </a:r>
          </a:p>
          <a:p>
            <a:b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3)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lang="en-US" sz="20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ork time tracking records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”</a:t>
            </a:r>
          </a:p>
          <a:p>
            <a:b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4) “…</a:t>
            </a:r>
            <a:r>
              <a:rPr lang="en-US" sz="20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ot responded to timely requests from IOB auditors and has demonstrated inadequate record keeping practices</a:t>
            </a:r>
            <a:r>
              <a:rPr lang="en-US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…”</a:t>
            </a:r>
            <a:endParaRPr lang="en-US" b="1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42F7781E-C3E7-3AA5-8871-1B47B32B79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683" y="2993326"/>
            <a:ext cx="826463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758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qOYQPlxf0MmYyS4PK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eg"/></Relationships>
</file>

<file path=ppt/theme/theme1.xml><?xml version="1.0" encoding="utf-8"?>
<a:theme xmlns:a="http://schemas.openxmlformats.org/drawingml/2006/main" name="Formal External Templates Grid 16:9 - 16637">
  <a:themeElements>
    <a:clrScheme name="Format 1">
      <a:dk1>
        <a:srgbClr val="000000"/>
      </a:dk1>
      <a:lt1>
        <a:sysClr val="window" lastClr="FFFFFF"/>
      </a:lt1>
      <a:dk2>
        <a:srgbClr val="0A3161"/>
      </a:dk2>
      <a:lt2>
        <a:srgbClr val="F2F2F2"/>
      </a:lt2>
      <a:accent1>
        <a:srgbClr val="0F243E"/>
      </a:accent1>
      <a:accent2>
        <a:srgbClr val="245795"/>
      </a:accent2>
      <a:accent3>
        <a:srgbClr val="DEB05C"/>
      </a:accent3>
      <a:accent4>
        <a:srgbClr val="559AED"/>
      </a:accent4>
      <a:accent5>
        <a:srgbClr val="6E6F73"/>
      </a:accent5>
      <a:accent6>
        <a:srgbClr val="948A54"/>
      </a:accent6>
      <a:hlink>
        <a:srgbClr val="559AED"/>
      </a:hlink>
      <a:folHlink>
        <a:srgbClr val="005CB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64484"/>
        </a:solidFill>
        <a:ln w="9525" cap="rnd" cmpd="sng" algn="ctr">
          <a:solidFill>
            <a:srgbClr val="16448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2_Office Theme">
  <a:themeElements>
    <a:clrScheme name="Commerce Jewel Tones">
      <a:dk1>
        <a:sysClr val="windowText" lastClr="000000"/>
      </a:dk1>
      <a:lt1>
        <a:sysClr val="window" lastClr="FFFFFF"/>
      </a:lt1>
      <a:dk2>
        <a:srgbClr val="00526A"/>
      </a:dk2>
      <a:lt2>
        <a:srgbClr val="33404E"/>
      </a:lt2>
      <a:accent1>
        <a:srgbClr val="40C0BE"/>
      </a:accent1>
      <a:accent2>
        <a:srgbClr val="981F28"/>
      </a:accent2>
      <a:accent3>
        <a:srgbClr val="378B44"/>
      </a:accent3>
      <a:accent4>
        <a:srgbClr val="6E1657"/>
      </a:accent4>
      <a:accent5>
        <a:srgbClr val="FBBC41"/>
      </a:accent5>
      <a:accent6>
        <a:srgbClr val="ED5A34"/>
      </a:accent6>
      <a:hlink>
        <a:srgbClr val="00526A"/>
      </a:hlink>
      <a:folHlink>
        <a:srgbClr val="618A9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dpi="0" rotWithShape="0">
          <a:blip xmlns:r="http://schemas.openxmlformats.org/officeDocument/2006/relationships" r:embed="rId1" cstate="email">
            <a:alphaModFix amt="9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Commerce Jewel Tones">
      <a:dk1>
        <a:sysClr val="windowText" lastClr="000000"/>
      </a:dk1>
      <a:lt1>
        <a:sysClr val="window" lastClr="FFFFFF"/>
      </a:lt1>
      <a:dk2>
        <a:srgbClr val="00526A"/>
      </a:dk2>
      <a:lt2>
        <a:srgbClr val="33404E"/>
      </a:lt2>
      <a:accent1>
        <a:srgbClr val="40C0BE"/>
      </a:accent1>
      <a:accent2>
        <a:srgbClr val="981F28"/>
      </a:accent2>
      <a:accent3>
        <a:srgbClr val="378B44"/>
      </a:accent3>
      <a:accent4>
        <a:srgbClr val="6E1657"/>
      </a:accent4>
      <a:accent5>
        <a:srgbClr val="FBBC41"/>
      </a:accent5>
      <a:accent6>
        <a:srgbClr val="ED5A34"/>
      </a:accent6>
      <a:hlink>
        <a:srgbClr val="00526A"/>
      </a:hlink>
      <a:folHlink>
        <a:srgbClr val="618A9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dpi="0" rotWithShape="0">
          <a:blip xmlns:r="http://schemas.openxmlformats.org/officeDocument/2006/relationships" r:embed="rId1" cstate="email">
            <a:alphaModFix amt="9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Format 1">
    <a:dk1>
      <a:srgbClr val="000000"/>
    </a:dk1>
    <a:lt1>
      <a:sysClr val="window" lastClr="FFFFFF"/>
    </a:lt1>
    <a:dk2>
      <a:srgbClr val="0A3161"/>
    </a:dk2>
    <a:lt2>
      <a:srgbClr val="F2F2F2"/>
    </a:lt2>
    <a:accent1>
      <a:srgbClr val="0F243E"/>
    </a:accent1>
    <a:accent2>
      <a:srgbClr val="245795"/>
    </a:accent2>
    <a:accent3>
      <a:srgbClr val="DEB05C"/>
    </a:accent3>
    <a:accent4>
      <a:srgbClr val="559AED"/>
    </a:accent4>
    <a:accent5>
      <a:srgbClr val="6E6F73"/>
    </a:accent5>
    <a:accent6>
      <a:srgbClr val="948A54"/>
    </a:accent6>
    <a:hlink>
      <a:srgbClr val="559AED"/>
    </a:hlink>
    <a:folHlink>
      <a:srgbClr val="005CB9"/>
    </a:folHlink>
  </a:clrScheme>
</a:themeOverride>
</file>

<file path=ppt/theme/themeOverride2.xml><?xml version="1.0" encoding="utf-8"?>
<a:themeOverride xmlns:a="http://schemas.openxmlformats.org/drawingml/2006/main">
  <a:clrScheme name="Format 1">
    <a:dk1>
      <a:srgbClr val="000000"/>
    </a:dk1>
    <a:lt1>
      <a:sysClr val="window" lastClr="FFFFFF"/>
    </a:lt1>
    <a:dk2>
      <a:srgbClr val="0A3161"/>
    </a:dk2>
    <a:lt2>
      <a:srgbClr val="F2F2F2"/>
    </a:lt2>
    <a:accent1>
      <a:srgbClr val="0F243E"/>
    </a:accent1>
    <a:accent2>
      <a:srgbClr val="245795"/>
    </a:accent2>
    <a:accent3>
      <a:srgbClr val="DEB05C"/>
    </a:accent3>
    <a:accent4>
      <a:srgbClr val="559AED"/>
    </a:accent4>
    <a:accent5>
      <a:srgbClr val="6E6F73"/>
    </a:accent5>
    <a:accent6>
      <a:srgbClr val="948A54"/>
    </a:accent6>
    <a:hlink>
      <a:srgbClr val="559AED"/>
    </a:hlink>
    <a:folHlink>
      <a:srgbClr val="005CB9"/>
    </a:folHlink>
  </a:clrScheme>
</a:themeOverride>
</file>

<file path=ppt/theme/themeOverride3.xml><?xml version="1.0" encoding="utf-8"?>
<a:themeOverride xmlns:a="http://schemas.openxmlformats.org/drawingml/2006/main">
  <a:clrScheme name="Format 1">
    <a:dk1>
      <a:srgbClr val="000000"/>
    </a:dk1>
    <a:lt1>
      <a:sysClr val="window" lastClr="FFFFFF"/>
    </a:lt1>
    <a:dk2>
      <a:srgbClr val="0A3161"/>
    </a:dk2>
    <a:lt2>
      <a:srgbClr val="F2F2F2"/>
    </a:lt2>
    <a:accent1>
      <a:srgbClr val="0F243E"/>
    </a:accent1>
    <a:accent2>
      <a:srgbClr val="245795"/>
    </a:accent2>
    <a:accent3>
      <a:srgbClr val="DEB05C"/>
    </a:accent3>
    <a:accent4>
      <a:srgbClr val="559AED"/>
    </a:accent4>
    <a:accent5>
      <a:srgbClr val="6E6F73"/>
    </a:accent5>
    <a:accent6>
      <a:srgbClr val="948A54"/>
    </a:accent6>
    <a:hlink>
      <a:srgbClr val="559AED"/>
    </a:hlink>
    <a:folHlink>
      <a:srgbClr val="005CB9"/>
    </a:folHlink>
  </a:clrScheme>
</a:themeOverride>
</file>

<file path=ppt/theme/themeOverride4.xml><?xml version="1.0" encoding="utf-8"?>
<a:themeOverride xmlns:a="http://schemas.openxmlformats.org/drawingml/2006/main">
  <a:clrScheme name="Format 1">
    <a:dk1>
      <a:srgbClr val="000000"/>
    </a:dk1>
    <a:lt1>
      <a:sysClr val="window" lastClr="FFFFFF"/>
    </a:lt1>
    <a:dk2>
      <a:srgbClr val="0A3161"/>
    </a:dk2>
    <a:lt2>
      <a:srgbClr val="F2F2F2"/>
    </a:lt2>
    <a:accent1>
      <a:srgbClr val="0F243E"/>
    </a:accent1>
    <a:accent2>
      <a:srgbClr val="245795"/>
    </a:accent2>
    <a:accent3>
      <a:srgbClr val="DEB05C"/>
    </a:accent3>
    <a:accent4>
      <a:srgbClr val="559AED"/>
    </a:accent4>
    <a:accent5>
      <a:srgbClr val="6E6F73"/>
    </a:accent5>
    <a:accent6>
      <a:srgbClr val="948A54"/>
    </a:accent6>
    <a:hlink>
      <a:srgbClr val="559AED"/>
    </a:hlink>
    <a:folHlink>
      <a:srgbClr val="005CB9"/>
    </a:folHlink>
  </a:clrScheme>
</a:themeOverride>
</file>

<file path=ppt/theme/themeOverride5.xml><?xml version="1.0" encoding="utf-8"?>
<a:themeOverride xmlns:a="http://schemas.openxmlformats.org/drawingml/2006/main">
  <a:clrScheme name="Format 1">
    <a:dk1>
      <a:srgbClr val="000000"/>
    </a:dk1>
    <a:lt1>
      <a:sysClr val="window" lastClr="FFFFFF"/>
    </a:lt1>
    <a:dk2>
      <a:srgbClr val="0A3161"/>
    </a:dk2>
    <a:lt2>
      <a:srgbClr val="F2F2F2"/>
    </a:lt2>
    <a:accent1>
      <a:srgbClr val="0F243E"/>
    </a:accent1>
    <a:accent2>
      <a:srgbClr val="245795"/>
    </a:accent2>
    <a:accent3>
      <a:srgbClr val="DEB05C"/>
    </a:accent3>
    <a:accent4>
      <a:srgbClr val="559AED"/>
    </a:accent4>
    <a:accent5>
      <a:srgbClr val="6E6F73"/>
    </a:accent5>
    <a:accent6>
      <a:srgbClr val="948A54"/>
    </a:accent6>
    <a:hlink>
      <a:srgbClr val="559AED"/>
    </a:hlink>
    <a:folHlink>
      <a:srgbClr val="005CB9"/>
    </a:folHlink>
  </a:clrScheme>
</a:themeOverride>
</file>

<file path=ppt/theme/themeOverride6.xml><?xml version="1.0" encoding="utf-8"?>
<a:themeOverride xmlns:a="http://schemas.openxmlformats.org/drawingml/2006/main">
  <a:clrScheme name="Format 1">
    <a:dk1>
      <a:srgbClr val="000000"/>
    </a:dk1>
    <a:lt1>
      <a:sysClr val="window" lastClr="FFFFFF"/>
    </a:lt1>
    <a:dk2>
      <a:srgbClr val="0A3161"/>
    </a:dk2>
    <a:lt2>
      <a:srgbClr val="F2F2F2"/>
    </a:lt2>
    <a:accent1>
      <a:srgbClr val="0F243E"/>
    </a:accent1>
    <a:accent2>
      <a:srgbClr val="245795"/>
    </a:accent2>
    <a:accent3>
      <a:srgbClr val="DEB05C"/>
    </a:accent3>
    <a:accent4>
      <a:srgbClr val="559AED"/>
    </a:accent4>
    <a:accent5>
      <a:srgbClr val="6E6F73"/>
    </a:accent5>
    <a:accent6>
      <a:srgbClr val="948A54"/>
    </a:accent6>
    <a:hlink>
      <a:srgbClr val="559AED"/>
    </a:hlink>
    <a:folHlink>
      <a:srgbClr val="005CB9"/>
    </a:folHlink>
  </a:clrScheme>
</a:themeOverride>
</file>

<file path=ppt/theme/themeOverride7.xml><?xml version="1.0" encoding="utf-8"?>
<a:themeOverride xmlns:a="http://schemas.openxmlformats.org/drawingml/2006/main">
  <a:clrScheme name="Format 1">
    <a:dk1>
      <a:srgbClr val="000000"/>
    </a:dk1>
    <a:lt1>
      <a:sysClr val="window" lastClr="FFFFFF"/>
    </a:lt1>
    <a:dk2>
      <a:srgbClr val="0A3161"/>
    </a:dk2>
    <a:lt2>
      <a:srgbClr val="F2F2F2"/>
    </a:lt2>
    <a:accent1>
      <a:srgbClr val="0F243E"/>
    </a:accent1>
    <a:accent2>
      <a:srgbClr val="245795"/>
    </a:accent2>
    <a:accent3>
      <a:srgbClr val="DEB05C"/>
    </a:accent3>
    <a:accent4>
      <a:srgbClr val="559AED"/>
    </a:accent4>
    <a:accent5>
      <a:srgbClr val="6E6F73"/>
    </a:accent5>
    <a:accent6>
      <a:srgbClr val="948A54"/>
    </a:accent6>
    <a:hlink>
      <a:srgbClr val="559AED"/>
    </a:hlink>
    <a:folHlink>
      <a:srgbClr val="005CB9"/>
    </a:folHlink>
  </a:clrScheme>
</a:themeOverride>
</file>

<file path=ppt/theme/themeOverride8.xml><?xml version="1.0" encoding="utf-8"?>
<a:themeOverride xmlns:a="http://schemas.openxmlformats.org/drawingml/2006/main">
  <a:clrScheme name="Format 1">
    <a:dk1>
      <a:srgbClr val="000000"/>
    </a:dk1>
    <a:lt1>
      <a:sysClr val="window" lastClr="FFFFFF"/>
    </a:lt1>
    <a:dk2>
      <a:srgbClr val="0A3161"/>
    </a:dk2>
    <a:lt2>
      <a:srgbClr val="F2F2F2"/>
    </a:lt2>
    <a:accent1>
      <a:srgbClr val="0F243E"/>
    </a:accent1>
    <a:accent2>
      <a:srgbClr val="245795"/>
    </a:accent2>
    <a:accent3>
      <a:srgbClr val="DEB05C"/>
    </a:accent3>
    <a:accent4>
      <a:srgbClr val="559AED"/>
    </a:accent4>
    <a:accent5>
      <a:srgbClr val="6E6F73"/>
    </a:accent5>
    <a:accent6>
      <a:srgbClr val="948A54"/>
    </a:accent6>
    <a:hlink>
      <a:srgbClr val="559AED"/>
    </a:hlink>
    <a:folHlink>
      <a:srgbClr val="005CB9"/>
    </a:folHlink>
  </a:clrScheme>
</a:themeOverride>
</file>

<file path=docMetadata/LabelInfo.xml><?xml version="1.0" encoding="utf-8"?>
<clbl:labelList xmlns:clbl="http://schemas.microsoft.com/office/2020/mipLabelMetadata">
  <clbl:label id="{c53b7a63-2d6e-4d96-87c9-9f583f6d1c81}" enabled="0" method="" siteId="{c53b7a63-2d6e-4d96-87c9-9f583f6d1c8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911</TotalTime>
  <Words>767</Words>
  <Application>Microsoft Office PowerPoint</Application>
  <PresentationFormat>On-screen Show (4:3)</PresentationFormat>
  <Paragraphs>129</Paragraphs>
  <Slides>1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badi</vt:lpstr>
      <vt:lpstr>Arial</vt:lpstr>
      <vt:lpstr>Arial Black</vt:lpstr>
      <vt:lpstr>Calibri</vt:lpstr>
      <vt:lpstr>Segoe UI</vt:lpstr>
      <vt:lpstr>Times New Roman</vt:lpstr>
      <vt:lpstr>Trebuchet MS</vt:lpstr>
      <vt:lpstr>Formal External Templates Grid 16:9 - 16637</vt:lpstr>
      <vt:lpstr>2_Office Theme</vt:lpstr>
      <vt:lpstr>3_Office Theme</vt:lpstr>
      <vt:lpstr>Office Theme</vt:lpstr>
      <vt:lpstr>think-cell Slide</vt:lpstr>
      <vt:lpstr>PowerPoint Presentation</vt:lpstr>
      <vt:lpstr>Agenda</vt:lpstr>
      <vt:lpstr>BEAD Pro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on Hobdey-Sanchez</dc:creator>
  <cp:lastModifiedBy>Ramon Hobdey-Sanchez</cp:lastModifiedBy>
  <cp:revision>72</cp:revision>
  <cp:lastPrinted>2026-03-23T16:52:05Z</cp:lastPrinted>
  <dcterms:created xsi:type="dcterms:W3CDTF">2022-10-06T18:35:56Z</dcterms:created>
  <dcterms:modified xsi:type="dcterms:W3CDTF">2026-03-25T04:06:40Z</dcterms:modified>
</cp:coreProperties>
</file>